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5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6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7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8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9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10.xml" ContentType="application/vnd.openxmlformats-officedocument.theme+xml"/>
  <Override PartName="/ppt/slideLayouts/slideLayout68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bookmarkIdSeed="2">
  <p:sldMasterIdLst>
    <p:sldMasterId id="2147483754" r:id="rId4"/>
    <p:sldMasterId id="2147483648" r:id="rId5"/>
    <p:sldMasterId id="2147483659" r:id="rId6"/>
    <p:sldMasterId id="2147483755" r:id="rId7"/>
    <p:sldMasterId id="2147483763" r:id="rId8"/>
    <p:sldMasterId id="2147483779" r:id="rId9"/>
    <p:sldMasterId id="2147483730" r:id="rId10"/>
    <p:sldMasterId id="2147483738" r:id="rId11"/>
    <p:sldMasterId id="2147483722" r:id="rId12"/>
    <p:sldMasterId id="2147483746" r:id="rId13"/>
    <p:sldMasterId id="2147483675" r:id="rId14"/>
  </p:sldMasterIdLst>
  <p:notesMasterIdLst>
    <p:notesMasterId r:id="rId35"/>
  </p:notesMasterIdLst>
  <p:handoutMasterIdLst>
    <p:handoutMasterId r:id="rId36"/>
  </p:handoutMasterIdLst>
  <p:sldIdLst>
    <p:sldId id="259" r:id="rId15"/>
    <p:sldId id="271" r:id="rId16"/>
    <p:sldId id="287" r:id="rId17"/>
    <p:sldId id="285" r:id="rId18"/>
    <p:sldId id="304" r:id="rId19"/>
    <p:sldId id="262" r:id="rId20"/>
    <p:sldId id="276" r:id="rId21"/>
    <p:sldId id="299" r:id="rId22"/>
    <p:sldId id="300" r:id="rId23"/>
    <p:sldId id="301" r:id="rId24"/>
    <p:sldId id="302" r:id="rId25"/>
    <p:sldId id="303" r:id="rId26"/>
    <p:sldId id="298" r:id="rId27"/>
    <p:sldId id="297" r:id="rId28"/>
    <p:sldId id="291" r:id="rId29"/>
    <p:sldId id="296" r:id="rId30"/>
    <p:sldId id="289" r:id="rId31"/>
    <p:sldId id="278" r:id="rId32"/>
    <p:sldId id="288" r:id="rId33"/>
    <p:sldId id="257" r:id="rId34"/>
  </p:sldIdLst>
  <p:sldSz cx="9144000" cy="6858000" type="screen4x3"/>
  <p:notesSz cx="6834188" cy="9979025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193A6"/>
    <a:srgbClr val="FF3300"/>
    <a:srgbClr val="7BA96B"/>
    <a:srgbClr val="ECE5CB"/>
    <a:srgbClr val="D4BEBF"/>
    <a:srgbClr val="E1D6AC"/>
    <a:srgbClr val="BB9799"/>
    <a:srgbClr val="A5B9B3"/>
    <a:srgbClr val="B1B1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634" autoAdjust="0"/>
    <p:restoredTop sz="96661" autoAdjust="0"/>
  </p:normalViewPr>
  <p:slideViewPr>
    <p:cSldViewPr snapToGrid="0">
      <p:cViewPr varScale="1">
        <p:scale>
          <a:sx n="71" d="100"/>
          <a:sy n="71" d="100"/>
        </p:scale>
        <p:origin x="-1626" y="-102"/>
      </p:cViewPr>
      <p:guideLst>
        <p:guide orient="horz" pos="1252"/>
        <p:guide orient="horz" pos="809"/>
        <p:guide orient="horz" pos="3861"/>
        <p:guide pos="2880"/>
        <p:guide pos="27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65" d="100"/>
          <a:sy n="65" d="100"/>
        </p:scale>
        <p:origin x="-2322" y="-72"/>
      </p:cViewPr>
      <p:guideLst>
        <p:guide orient="horz" pos="3143"/>
        <p:guide pos="215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7.xml"/><Relationship Id="rId34" Type="http://schemas.openxmlformats.org/officeDocument/2006/relationships/slide" Target="slides/slide20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slide" Target="slides/slide1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handoutMaster" Target="handoutMasters/handout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3CCDDC5-4909-47E0-BC02-AFD815B620AC}" type="doc">
      <dgm:prSet loTypeId="urn:microsoft.com/office/officeart/2005/8/layout/orgChart1" loCatId="hierarchy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A17149A-BDE1-4284-9941-8FF062408BB1}">
      <dgm:prSet phldrT="[Text]"/>
      <dgm:spPr/>
      <dgm:t>
        <a:bodyPr/>
        <a:lstStyle/>
        <a:p>
          <a:r>
            <a:rPr lang="sv-SE" dirty="0" smtClean="0"/>
            <a:t>OBT PM</a:t>
          </a:r>
          <a:endParaRPr lang="en-US" dirty="0"/>
        </a:p>
      </dgm:t>
    </dgm:pt>
    <dgm:pt modelId="{7C2A43D8-4609-4B34-A5A9-126A18AA03E9}" type="parTrans" cxnId="{C1E1DE70-AF60-4DE5-BA22-3CE8C973EC6F}">
      <dgm:prSet/>
      <dgm:spPr/>
      <dgm:t>
        <a:bodyPr/>
        <a:lstStyle/>
        <a:p>
          <a:endParaRPr lang="en-US"/>
        </a:p>
      </dgm:t>
    </dgm:pt>
    <dgm:pt modelId="{E8FF5A6B-E57E-4C33-BD2F-1943EC98AB2C}" type="sibTrans" cxnId="{C1E1DE70-AF60-4DE5-BA22-3CE8C973EC6F}">
      <dgm:prSet/>
      <dgm:spPr/>
      <dgm:t>
        <a:bodyPr/>
        <a:lstStyle/>
        <a:p>
          <a:endParaRPr lang="en-US"/>
        </a:p>
      </dgm:t>
    </dgm:pt>
    <dgm:pt modelId="{7D5D405A-D07C-419D-9CB5-93D17FA477AA}">
      <dgm:prSet phldrT="[Text]"/>
      <dgm:spPr/>
      <dgm:t>
        <a:bodyPr/>
        <a:lstStyle/>
        <a:p>
          <a:r>
            <a:rPr lang="sv-SE" dirty="0" smtClean="0"/>
            <a:t>Project Verification Leader</a:t>
          </a:r>
          <a:endParaRPr lang="en-US" dirty="0"/>
        </a:p>
      </dgm:t>
    </dgm:pt>
    <dgm:pt modelId="{70D6EC45-B8D3-4965-AB81-305E099AD41F}" type="parTrans" cxnId="{E09408CF-5E31-4F41-B3D8-4CE18BABEF14}">
      <dgm:prSet/>
      <dgm:spPr/>
      <dgm:t>
        <a:bodyPr/>
        <a:lstStyle/>
        <a:p>
          <a:endParaRPr lang="en-US"/>
        </a:p>
      </dgm:t>
    </dgm:pt>
    <dgm:pt modelId="{9FF75683-6740-4AC3-B72D-CDA0E1C5232E}" type="sibTrans" cxnId="{E09408CF-5E31-4F41-B3D8-4CE18BABEF14}">
      <dgm:prSet/>
      <dgm:spPr/>
      <dgm:t>
        <a:bodyPr/>
        <a:lstStyle/>
        <a:p>
          <a:endParaRPr lang="en-US"/>
        </a:p>
      </dgm:t>
    </dgm:pt>
    <dgm:pt modelId="{CFB274F1-7D75-4972-A8AB-AD9C48179B7A}">
      <dgm:prSet phldrT="[Text]"/>
      <dgm:spPr/>
      <dgm:t>
        <a:bodyPr/>
        <a:lstStyle/>
        <a:p>
          <a:r>
            <a:rPr lang="sv-SE" dirty="0" smtClean="0"/>
            <a:t>System Leader</a:t>
          </a:r>
          <a:endParaRPr lang="en-US" dirty="0"/>
        </a:p>
      </dgm:t>
    </dgm:pt>
    <dgm:pt modelId="{ADE040F1-B7D8-43FB-85D0-B389C45BEC8E}" type="parTrans" cxnId="{CD1CFA41-DBD2-4D78-B43B-D91E13E43D32}">
      <dgm:prSet/>
      <dgm:spPr/>
      <dgm:t>
        <a:bodyPr/>
        <a:lstStyle/>
        <a:p>
          <a:endParaRPr lang="en-US"/>
        </a:p>
      </dgm:t>
    </dgm:pt>
    <dgm:pt modelId="{06C947A1-DF78-4108-8441-C40300E70BED}" type="sibTrans" cxnId="{CD1CFA41-DBD2-4D78-B43B-D91E13E43D32}">
      <dgm:prSet/>
      <dgm:spPr/>
      <dgm:t>
        <a:bodyPr/>
        <a:lstStyle/>
        <a:p>
          <a:endParaRPr lang="en-US"/>
        </a:p>
      </dgm:t>
    </dgm:pt>
    <dgm:pt modelId="{5C5F1CE9-9C96-4D58-8839-1F649FF38720}">
      <dgm:prSet phldrT="[Text]"/>
      <dgm:spPr/>
      <dgm:t>
        <a:bodyPr/>
        <a:lstStyle/>
        <a:p>
          <a:r>
            <a:rPr lang="sv-SE" dirty="0" smtClean="0"/>
            <a:t>SW Project Architect</a:t>
          </a:r>
          <a:endParaRPr lang="en-US" dirty="0"/>
        </a:p>
      </dgm:t>
    </dgm:pt>
    <dgm:pt modelId="{95D25010-84C9-4658-83A0-162D898C8A6D}" type="parTrans" cxnId="{26C61B3F-3BA8-4A02-922B-2EDBD09B41E9}">
      <dgm:prSet/>
      <dgm:spPr/>
      <dgm:t>
        <a:bodyPr/>
        <a:lstStyle/>
        <a:p>
          <a:endParaRPr lang="en-US"/>
        </a:p>
      </dgm:t>
    </dgm:pt>
    <dgm:pt modelId="{FFA6A9FF-3E70-4404-A659-FB6AD2512D0C}" type="sibTrans" cxnId="{26C61B3F-3BA8-4A02-922B-2EDBD09B41E9}">
      <dgm:prSet/>
      <dgm:spPr/>
      <dgm:t>
        <a:bodyPr/>
        <a:lstStyle/>
        <a:p>
          <a:endParaRPr lang="en-US"/>
        </a:p>
      </dgm:t>
    </dgm:pt>
    <dgm:pt modelId="{DA5F045B-3562-4D14-8AFB-4403E15A72F6}">
      <dgm:prSet phldrT="[Text]"/>
      <dgm:spPr/>
      <dgm:t>
        <a:bodyPr/>
        <a:lstStyle/>
        <a:p>
          <a:r>
            <a:rPr lang="sv-SE" dirty="0" smtClean="0"/>
            <a:t>Function owner</a:t>
          </a:r>
          <a:endParaRPr lang="en-US" dirty="0"/>
        </a:p>
      </dgm:t>
    </dgm:pt>
    <dgm:pt modelId="{0D2BEF4F-6943-4B6F-8CB1-FB1635605401}" type="parTrans" cxnId="{3C75C16D-541C-4348-B71A-A902DB664448}">
      <dgm:prSet/>
      <dgm:spPr/>
      <dgm:t>
        <a:bodyPr/>
        <a:lstStyle/>
        <a:p>
          <a:endParaRPr lang="en-US"/>
        </a:p>
      </dgm:t>
    </dgm:pt>
    <dgm:pt modelId="{B9AF1E24-A946-4684-8BD6-7EDA9444D001}" type="sibTrans" cxnId="{3C75C16D-541C-4348-B71A-A902DB664448}">
      <dgm:prSet/>
      <dgm:spPr/>
      <dgm:t>
        <a:bodyPr/>
        <a:lstStyle/>
        <a:p>
          <a:endParaRPr lang="en-US"/>
        </a:p>
      </dgm:t>
    </dgm:pt>
    <dgm:pt modelId="{33663CF0-2137-4734-B649-CC6BB5F80AE5}">
      <dgm:prSet phldrT="[Text]"/>
      <dgm:spPr>
        <a:ln>
          <a:prstDash val="lgDash"/>
        </a:ln>
      </dgm:spPr>
      <dgm:t>
        <a:bodyPr/>
        <a:lstStyle/>
        <a:p>
          <a:r>
            <a:rPr lang="sv-SE" dirty="0" smtClean="0"/>
            <a:t>Technical Leader</a:t>
          </a:r>
          <a:endParaRPr lang="en-US" dirty="0"/>
        </a:p>
      </dgm:t>
    </dgm:pt>
    <dgm:pt modelId="{DE5B1F53-5EB9-415A-8624-6B19C10D741E}" type="parTrans" cxnId="{F495B2E2-D5AA-471E-84C7-9E9E2A6B8E63}">
      <dgm:prSet/>
      <dgm:spPr/>
      <dgm:t>
        <a:bodyPr/>
        <a:lstStyle/>
        <a:p>
          <a:endParaRPr lang="en-US"/>
        </a:p>
      </dgm:t>
    </dgm:pt>
    <dgm:pt modelId="{E509B83F-11F2-4AC6-B79B-5B934B400986}" type="sibTrans" cxnId="{F495B2E2-D5AA-471E-84C7-9E9E2A6B8E63}">
      <dgm:prSet/>
      <dgm:spPr/>
      <dgm:t>
        <a:bodyPr/>
        <a:lstStyle/>
        <a:p>
          <a:endParaRPr lang="en-US"/>
        </a:p>
      </dgm:t>
    </dgm:pt>
    <dgm:pt modelId="{138CA752-5A56-43BC-B1AF-C451EB6E952E}">
      <dgm:prSet phldrT="[Text]"/>
      <dgm:spPr/>
      <dgm:t>
        <a:bodyPr/>
        <a:lstStyle/>
        <a:p>
          <a:r>
            <a:rPr lang="sv-SE" smtClean="0"/>
            <a:t>HW</a:t>
          </a:r>
          <a:endParaRPr lang="en-US" dirty="0"/>
        </a:p>
      </dgm:t>
    </dgm:pt>
    <dgm:pt modelId="{05CD2950-F082-4551-8FA0-CDE4157ED17D}" type="parTrans" cxnId="{030E1477-06A5-47A0-8932-B9EBAD39D117}">
      <dgm:prSet/>
      <dgm:spPr/>
      <dgm:t>
        <a:bodyPr/>
        <a:lstStyle/>
        <a:p>
          <a:endParaRPr lang="en-US"/>
        </a:p>
      </dgm:t>
    </dgm:pt>
    <dgm:pt modelId="{221D7C96-CF23-4F9C-AECE-86C2E300D945}" type="sibTrans" cxnId="{030E1477-06A5-47A0-8932-B9EBAD39D117}">
      <dgm:prSet/>
      <dgm:spPr/>
      <dgm:t>
        <a:bodyPr/>
        <a:lstStyle/>
        <a:p>
          <a:endParaRPr lang="en-US"/>
        </a:p>
      </dgm:t>
    </dgm:pt>
    <dgm:pt modelId="{C7D91A8A-DC4A-4496-95E4-F8F92DC0034F}" type="pres">
      <dgm:prSet presAssocID="{B3CCDDC5-4909-47E0-BC02-AFD815B620AC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572E6940-EA9A-48C2-9F8C-BC5B770D9E07}" type="pres">
      <dgm:prSet presAssocID="{0A17149A-BDE1-4284-9941-8FF062408BB1}" presName="hierRoot1" presStyleCnt="0">
        <dgm:presLayoutVars>
          <dgm:hierBranch val="init"/>
        </dgm:presLayoutVars>
      </dgm:prSet>
      <dgm:spPr/>
    </dgm:pt>
    <dgm:pt modelId="{E2360DBE-DACA-4750-BEB5-942835A17086}" type="pres">
      <dgm:prSet presAssocID="{0A17149A-BDE1-4284-9941-8FF062408BB1}" presName="rootComposite1" presStyleCnt="0"/>
      <dgm:spPr/>
    </dgm:pt>
    <dgm:pt modelId="{B268BD8C-6918-47EB-8D8A-2A7DA23D2730}" type="pres">
      <dgm:prSet presAssocID="{0A17149A-BDE1-4284-9941-8FF062408BB1}" presName="rootText1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759BD84-F323-409F-BE9B-FA8DFC8CA68D}" type="pres">
      <dgm:prSet presAssocID="{0A17149A-BDE1-4284-9941-8FF062408BB1}" presName="rootConnector1" presStyleLbl="node1" presStyleIdx="0" presStyleCnt="0"/>
      <dgm:spPr/>
      <dgm:t>
        <a:bodyPr/>
        <a:lstStyle/>
        <a:p>
          <a:endParaRPr lang="en-US"/>
        </a:p>
      </dgm:t>
    </dgm:pt>
    <dgm:pt modelId="{E559576B-71D5-4B91-8999-2C5B04ED1187}" type="pres">
      <dgm:prSet presAssocID="{0A17149A-BDE1-4284-9941-8FF062408BB1}" presName="hierChild2" presStyleCnt="0"/>
      <dgm:spPr/>
    </dgm:pt>
    <dgm:pt modelId="{17A742CB-C3FD-493B-BE01-55FB0B6BEA54}" type="pres">
      <dgm:prSet presAssocID="{95D25010-84C9-4658-83A0-162D898C8A6D}" presName="Name37" presStyleLbl="parChTrans1D2" presStyleIdx="0" presStyleCnt="6"/>
      <dgm:spPr/>
      <dgm:t>
        <a:bodyPr/>
        <a:lstStyle/>
        <a:p>
          <a:endParaRPr lang="en-US"/>
        </a:p>
      </dgm:t>
    </dgm:pt>
    <dgm:pt modelId="{A18CC92A-7C6D-4117-AD30-0AF1D73227D0}" type="pres">
      <dgm:prSet presAssocID="{5C5F1CE9-9C96-4D58-8839-1F649FF38720}" presName="hierRoot2" presStyleCnt="0">
        <dgm:presLayoutVars>
          <dgm:hierBranch val="init"/>
        </dgm:presLayoutVars>
      </dgm:prSet>
      <dgm:spPr/>
    </dgm:pt>
    <dgm:pt modelId="{4C9BA976-7FF6-4332-B82E-88F6DED744DD}" type="pres">
      <dgm:prSet presAssocID="{5C5F1CE9-9C96-4D58-8839-1F649FF38720}" presName="rootComposite" presStyleCnt="0"/>
      <dgm:spPr/>
    </dgm:pt>
    <dgm:pt modelId="{4C3D0FC5-BE89-4D18-A9AA-EFAFD1C54303}" type="pres">
      <dgm:prSet presAssocID="{5C5F1CE9-9C96-4D58-8839-1F649FF38720}" presName="rootText" presStyleLbl="node2" presStyleIdx="0" presStyleCnt="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B3A309D-FD6C-441B-BCB3-73D9EC92A70C}" type="pres">
      <dgm:prSet presAssocID="{5C5F1CE9-9C96-4D58-8839-1F649FF38720}" presName="rootConnector" presStyleLbl="node2" presStyleIdx="0" presStyleCnt="6"/>
      <dgm:spPr/>
      <dgm:t>
        <a:bodyPr/>
        <a:lstStyle/>
        <a:p>
          <a:endParaRPr lang="en-US"/>
        </a:p>
      </dgm:t>
    </dgm:pt>
    <dgm:pt modelId="{9788C8C8-FD4A-4EE8-8B8F-C5CA203EDF7F}" type="pres">
      <dgm:prSet presAssocID="{5C5F1CE9-9C96-4D58-8839-1F649FF38720}" presName="hierChild4" presStyleCnt="0"/>
      <dgm:spPr/>
    </dgm:pt>
    <dgm:pt modelId="{5A2AF528-8B0C-478A-9FDD-E791DFA096C4}" type="pres">
      <dgm:prSet presAssocID="{5C5F1CE9-9C96-4D58-8839-1F649FF38720}" presName="hierChild5" presStyleCnt="0"/>
      <dgm:spPr/>
    </dgm:pt>
    <dgm:pt modelId="{B4DACFD2-55AF-48D2-A817-0621A1A13B01}" type="pres">
      <dgm:prSet presAssocID="{70D6EC45-B8D3-4965-AB81-305E099AD41F}" presName="Name37" presStyleLbl="parChTrans1D2" presStyleIdx="1" presStyleCnt="6"/>
      <dgm:spPr/>
      <dgm:t>
        <a:bodyPr/>
        <a:lstStyle/>
        <a:p>
          <a:endParaRPr lang="en-US"/>
        </a:p>
      </dgm:t>
    </dgm:pt>
    <dgm:pt modelId="{F65AB65C-5FDB-4552-848C-1646F4B505C9}" type="pres">
      <dgm:prSet presAssocID="{7D5D405A-D07C-419D-9CB5-93D17FA477AA}" presName="hierRoot2" presStyleCnt="0">
        <dgm:presLayoutVars>
          <dgm:hierBranch val="init"/>
        </dgm:presLayoutVars>
      </dgm:prSet>
      <dgm:spPr/>
    </dgm:pt>
    <dgm:pt modelId="{010A4167-17FB-4E6C-AA8D-1C9E474AE966}" type="pres">
      <dgm:prSet presAssocID="{7D5D405A-D07C-419D-9CB5-93D17FA477AA}" presName="rootComposite" presStyleCnt="0"/>
      <dgm:spPr/>
    </dgm:pt>
    <dgm:pt modelId="{7143D64A-20B5-4520-9002-42791575BF9C}" type="pres">
      <dgm:prSet presAssocID="{7D5D405A-D07C-419D-9CB5-93D17FA477AA}" presName="rootText" presStyleLbl="node2" presStyleIdx="1" presStyleCnt="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ED8B27F-F709-47F9-ADCA-ABAA50914D63}" type="pres">
      <dgm:prSet presAssocID="{7D5D405A-D07C-419D-9CB5-93D17FA477AA}" presName="rootConnector" presStyleLbl="node2" presStyleIdx="1" presStyleCnt="6"/>
      <dgm:spPr/>
      <dgm:t>
        <a:bodyPr/>
        <a:lstStyle/>
        <a:p>
          <a:endParaRPr lang="en-US"/>
        </a:p>
      </dgm:t>
    </dgm:pt>
    <dgm:pt modelId="{520E4BA8-15FD-47B6-A22D-8D2646E02500}" type="pres">
      <dgm:prSet presAssocID="{7D5D405A-D07C-419D-9CB5-93D17FA477AA}" presName="hierChild4" presStyleCnt="0"/>
      <dgm:spPr/>
    </dgm:pt>
    <dgm:pt modelId="{C5BA672A-DDD1-4658-B3C2-950ABADE7576}" type="pres">
      <dgm:prSet presAssocID="{7D5D405A-D07C-419D-9CB5-93D17FA477AA}" presName="hierChild5" presStyleCnt="0"/>
      <dgm:spPr/>
    </dgm:pt>
    <dgm:pt modelId="{917F332E-7C61-4E40-8AE9-1B0A5C91EAFC}" type="pres">
      <dgm:prSet presAssocID="{ADE040F1-B7D8-43FB-85D0-B389C45BEC8E}" presName="Name37" presStyleLbl="parChTrans1D2" presStyleIdx="2" presStyleCnt="6"/>
      <dgm:spPr/>
      <dgm:t>
        <a:bodyPr/>
        <a:lstStyle/>
        <a:p>
          <a:endParaRPr lang="en-US"/>
        </a:p>
      </dgm:t>
    </dgm:pt>
    <dgm:pt modelId="{A43745B0-0479-42D4-AE00-2AE3E2EF8976}" type="pres">
      <dgm:prSet presAssocID="{CFB274F1-7D75-4972-A8AB-AD9C48179B7A}" presName="hierRoot2" presStyleCnt="0">
        <dgm:presLayoutVars>
          <dgm:hierBranch val="init"/>
        </dgm:presLayoutVars>
      </dgm:prSet>
      <dgm:spPr/>
    </dgm:pt>
    <dgm:pt modelId="{F84CD8FD-95CB-40CA-A5CE-58313490755D}" type="pres">
      <dgm:prSet presAssocID="{CFB274F1-7D75-4972-A8AB-AD9C48179B7A}" presName="rootComposite" presStyleCnt="0"/>
      <dgm:spPr/>
    </dgm:pt>
    <dgm:pt modelId="{6C9B2FF6-4AEC-4AA1-9F80-595AB4C2B244}" type="pres">
      <dgm:prSet presAssocID="{CFB274F1-7D75-4972-A8AB-AD9C48179B7A}" presName="rootText" presStyleLbl="node2" presStyleIdx="2" presStyleCnt="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FA1364C-866A-41B0-9096-6E268FE53D4F}" type="pres">
      <dgm:prSet presAssocID="{CFB274F1-7D75-4972-A8AB-AD9C48179B7A}" presName="rootConnector" presStyleLbl="node2" presStyleIdx="2" presStyleCnt="6"/>
      <dgm:spPr/>
      <dgm:t>
        <a:bodyPr/>
        <a:lstStyle/>
        <a:p>
          <a:endParaRPr lang="en-US"/>
        </a:p>
      </dgm:t>
    </dgm:pt>
    <dgm:pt modelId="{9DBB9265-B0A9-4EB6-A49B-923226A14524}" type="pres">
      <dgm:prSet presAssocID="{CFB274F1-7D75-4972-A8AB-AD9C48179B7A}" presName="hierChild4" presStyleCnt="0"/>
      <dgm:spPr/>
    </dgm:pt>
    <dgm:pt modelId="{49A45904-F228-45F9-8A20-97B246DFD7A4}" type="pres">
      <dgm:prSet presAssocID="{CFB274F1-7D75-4972-A8AB-AD9C48179B7A}" presName="hierChild5" presStyleCnt="0"/>
      <dgm:spPr/>
    </dgm:pt>
    <dgm:pt modelId="{DFE79AE0-EF6A-49DF-A798-AD57277DB041}" type="pres">
      <dgm:prSet presAssocID="{0D2BEF4F-6943-4B6F-8CB1-FB1635605401}" presName="Name37" presStyleLbl="parChTrans1D2" presStyleIdx="3" presStyleCnt="6"/>
      <dgm:spPr/>
      <dgm:t>
        <a:bodyPr/>
        <a:lstStyle/>
        <a:p>
          <a:endParaRPr lang="en-US"/>
        </a:p>
      </dgm:t>
    </dgm:pt>
    <dgm:pt modelId="{5531C486-14B7-4E6F-9229-1A4D0AA9BE04}" type="pres">
      <dgm:prSet presAssocID="{DA5F045B-3562-4D14-8AFB-4403E15A72F6}" presName="hierRoot2" presStyleCnt="0">
        <dgm:presLayoutVars>
          <dgm:hierBranch val="init"/>
        </dgm:presLayoutVars>
      </dgm:prSet>
      <dgm:spPr/>
    </dgm:pt>
    <dgm:pt modelId="{6C52ADA9-CEF5-4340-8B23-9E601E2CC1CA}" type="pres">
      <dgm:prSet presAssocID="{DA5F045B-3562-4D14-8AFB-4403E15A72F6}" presName="rootComposite" presStyleCnt="0"/>
      <dgm:spPr/>
    </dgm:pt>
    <dgm:pt modelId="{525DB26E-E1C1-4751-832D-8C876281DCE0}" type="pres">
      <dgm:prSet presAssocID="{DA5F045B-3562-4D14-8AFB-4403E15A72F6}" presName="rootText" presStyleLbl="node2" presStyleIdx="3" presStyleCnt="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ED4D695-C04C-436E-A74D-2F572DF71B9A}" type="pres">
      <dgm:prSet presAssocID="{DA5F045B-3562-4D14-8AFB-4403E15A72F6}" presName="rootConnector" presStyleLbl="node2" presStyleIdx="3" presStyleCnt="6"/>
      <dgm:spPr/>
      <dgm:t>
        <a:bodyPr/>
        <a:lstStyle/>
        <a:p>
          <a:endParaRPr lang="en-US"/>
        </a:p>
      </dgm:t>
    </dgm:pt>
    <dgm:pt modelId="{D03CA35D-72D3-41D0-93CC-ABCA330DC7BA}" type="pres">
      <dgm:prSet presAssocID="{DA5F045B-3562-4D14-8AFB-4403E15A72F6}" presName="hierChild4" presStyleCnt="0"/>
      <dgm:spPr/>
    </dgm:pt>
    <dgm:pt modelId="{0FA60C37-CAEF-4364-B60B-FB3EE76E0FCC}" type="pres">
      <dgm:prSet presAssocID="{DA5F045B-3562-4D14-8AFB-4403E15A72F6}" presName="hierChild5" presStyleCnt="0"/>
      <dgm:spPr/>
    </dgm:pt>
    <dgm:pt modelId="{BAF4CF3F-413E-4BE3-8029-ADEEFF361E1F}" type="pres">
      <dgm:prSet presAssocID="{DE5B1F53-5EB9-415A-8624-6B19C10D741E}" presName="Name37" presStyleLbl="parChTrans1D2" presStyleIdx="4" presStyleCnt="6"/>
      <dgm:spPr/>
      <dgm:t>
        <a:bodyPr/>
        <a:lstStyle/>
        <a:p>
          <a:endParaRPr lang="en-US"/>
        </a:p>
      </dgm:t>
    </dgm:pt>
    <dgm:pt modelId="{E770A760-5E0A-4E2C-9F8E-5D8F941BDC01}" type="pres">
      <dgm:prSet presAssocID="{33663CF0-2137-4734-B649-CC6BB5F80AE5}" presName="hierRoot2" presStyleCnt="0">
        <dgm:presLayoutVars>
          <dgm:hierBranch val="init"/>
        </dgm:presLayoutVars>
      </dgm:prSet>
      <dgm:spPr/>
    </dgm:pt>
    <dgm:pt modelId="{807D5FC0-692E-42F5-88A5-4C156B517807}" type="pres">
      <dgm:prSet presAssocID="{33663CF0-2137-4734-B649-CC6BB5F80AE5}" presName="rootComposite" presStyleCnt="0"/>
      <dgm:spPr/>
    </dgm:pt>
    <dgm:pt modelId="{4EC31D86-D855-42B3-A629-4F4F0354BB8E}" type="pres">
      <dgm:prSet presAssocID="{33663CF0-2137-4734-B649-CC6BB5F80AE5}" presName="rootText" presStyleLbl="node2" presStyleIdx="4" presStyleCnt="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4305AD2-483B-4191-8F02-9EE8440F5191}" type="pres">
      <dgm:prSet presAssocID="{33663CF0-2137-4734-B649-CC6BB5F80AE5}" presName="rootConnector" presStyleLbl="node2" presStyleIdx="4" presStyleCnt="6"/>
      <dgm:spPr/>
      <dgm:t>
        <a:bodyPr/>
        <a:lstStyle/>
        <a:p>
          <a:endParaRPr lang="en-US"/>
        </a:p>
      </dgm:t>
    </dgm:pt>
    <dgm:pt modelId="{CA6E7003-6D48-421C-B38A-0FA054830448}" type="pres">
      <dgm:prSet presAssocID="{33663CF0-2137-4734-B649-CC6BB5F80AE5}" presName="hierChild4" presStyleCnt="0"/>
      <dgm:spPr/>
    </dgm:pt>
    <dgm:pt modelId="{77C0B3DD-7F34-46E6-9F65-080E266FBD82}" type="pres">
      <dgm:prSet presAssocID="{33663CF0-2137-4734-B649-CC6BB5F80AE5}" presName="hierChild5" presStyleCnt="0"/>
      <dgm:spPr/>
    </dgm:pt>
    <dgm:pt modelId="{8E92ECC0-0B6D-432E-99B4-035EE6990687}" type="pres">
      <dgm:prSet presAssocID="{05CD2950-F082-4551-8FA0-CDE4157ED17D}" presName="Name37" presStyleLbl="parChTrans1D2" presStyleIdx="5" presStyleCnt="6"/>
      <dgm:spPr/>
      <dgm:t>
        <a:bodyPr/>
        <a:lstStyle/>
        <a:p>
          <a:endParaRPr lang="en-US"/>
        </a:p>
      </dgm:t>
    </dgm:pt>
    <dgm:pt modelId="{232D1831-24FE-4870-AEE1-00E4C595D900}" type="pres">
      <dgm:prSet presAssocID="{138CA752-5A56-43BC-B1AF-C451EB6E952E}" presName="hierRoot2" presStyleCnt="0">
        <dgm:presLayoutVars>
          <dgm:hierBranch val="init"/>
        </dgm:presLayoutVars>
      </dgm:prSet>
      <dgm:spPr/>
    </dgm:pt>
    <dgm:pt modelId="{4C711F90-AD92-4EF6-8A3A-46CFC62AA747}" type="pres">
      <dgm:prSet presAssocID="{138CA752-5A56-43BC-B1AF-C451EB6E952E}" presName="rootComposite" presStyleCnt="0"/>
      <dgm:spPr/>
    </dgm:pt>
    <dgm:pt modelId="{BE7B1FFA-5724-4CA1-941B-F4A66078361F}" type="pres">
      <dgm:prSet presAssocID="{138CA752-5A56-43BC-B1AF-C451EB6E952E}" presName="rootText" presStyleLbl="node2" presStyleIdx="5" presStyleCnt="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997548B-648C-4B37-A229-3F695288746B}" type="pres">
      <dgm:prSet presAssocID="{138CA752-5A56-43BC-B1AF-C451EB6E952E}" presName="rootConnector" presStyleLbl="node2" presStyleIdx="5" presStyleCnt="6"/>
      <dgm:spPr/>
      <dgm:t>
        <a:bodyPr/>
        <a:lstStyle/>
        <a:p>
          <a:endParaRPr lang="en-US"/>
        </a:p>
      </dgm:t>
    </dgm:pt>
    <dgm:pt modelId="{AA1ED12B-C409-443F-BDC5-D7B602991EA6}" type="pres">
      <dgm:prSet presAssocID="{138CA752-5A56-43BC-B1AF-C451EB6E952E}" presName="hierChild4" presStyleCnt="0"/>
      <dgm:spPr/>
    </dgm:pt>
    <dgm:pt modelId="{9787DB69-55DA-432F-AD8F-027B5AE652CF}" type="pres">
      <dgm:prSet presAssocID="{138CA752-5A56-43BC-B1AF-C451EB6E952E}" presName="hierChild5" presStyleCnt="0"/>
      <dgm:spPr/>
    </dgm:pt>
    <dgm:pt modelId="{C8CFFACC-7584-4612-B425-5F0CE9EC3460}" type="pres">
      <dgm:prSet presAssocID="{0A17149A-BDE1-4284-9941-8FF062408BB1}" presName="hierChild3" presStyleCnt="0"/>
      <dgm:spPr/>
    </dgm:pt>
  </dgm:ptLst>
  <dgm:cxnLst>
    <dgm:cxn modelId="{030E1477-06A5-47A0-8932-B9EBAD39D117}" srcId="{0A17149A-BDE1-4284-9941-8FF062408BB1}" destId="{138CA752-5A56-43BC-B1AF-C451EB6E952E}" srcOrd="5" destOrd="0" parTransId="{05CD2950-F082-4551-8FA0-CDE4157ED17D}" sibTransId="{221D7C96-CF23-4F9C-AECE-86C2E300D945}"/>
    <dgm:cxn modelId="{26C61B3F-3BA8-4A02-922B-2EDBD09B41E9}" srcId="{0A17149A-BDE1-4284-9941-8FF062408BB1}" destId="{5C5F1CE9-9C96-4D58-8839-1F649FF38720}" srcOrd="0" destOrd="0" parTransId="{95D25010-84C9-4658-83A0-162D898C8A6D}" sibTransId="{FFA6A9FF-3E70-4404-A659-FB6AD2512D0C}"/>
    <dgm:cxn modelId="{E852F7C8-559B-49EA-B9FC-2FAFB23F46C1}" type="presOf" srcId="{B3CCDDC5-4909-47E0-BC02-AFD815B620AC}" destId="{C7D91A8A-DC4A-4496-95E4-F8F92DC0034F}" srcOrd="0" destOrd="0" presId="urn:microsoft.com/office/officeart/2005/8/layout/orgChart1"/>
    <dgm:cxn modelId="{D4519934-7FB0-4DE3-91DD-578BD73EE31C}" type="presOf" srcId="{CFB274F1-7D75-4972-A8AB-AD9C48179B7A}" destId="{DFA1364C-866A-41B0-9096-6E268FE53D4F}" srcOrd="1" destOrd="0" presId="urn:microsoft.com/office/officeart/2005/8/layout/orgChart1"/>
    <dgm:cxn modelId="{23EE5E0E-6158-4445-BE99-26130B167A76}" type="presOf" srcId="{0A17149A-BDE1-4284-9941-8FF062408BB1}" destId="{0759BD84-F323-409F-BE9B-FA8DFC8CA68D}" srcOrd="1" destOrd="0" presId="urn:microsoft.com/office/officeart/2005/8/layout/orgChart1"/>
    <dgm:cxn modelId="{5A08C84A-1833-472C-A1B8-39FD95F6BFF2}" type="presOf" srcId="{70D6EC45-B8D3-4965-AB81-305E099AD41F}" destId="{B4DACFD2-55AF-48D2-A817-0621A1A13B01}" srcOrd="0" destOrd="0" presId="urn:microsoft.com/office/officeart/2005/8/layout/orgChart1"/>
    <dgm:cxn modelId="{E09408CF-5E31-4F41-B3D8-4CE18BABEF14}" srcId="{0A17149A-BDE1-4284-9941-8FF062408BB1}" destId="{7D5D405A-D07C-419D-9CB5-93D17FA477AA}" srcOrd="1" destOrd="0" parTransId="{70D6EC45-B8D3-4965-AB81-305E099AD41F}" sibTransId="{9FF75683-6740-4AC3-B72D-CDA0E1C5232E}"/>
    <dgm:cxn modelId="{607FB500-9B2D-4D69-A1D6-BE85F9C4F1FD}" type="presOf" srcId="{DA5F045B-3562-4D14-8AFB-4403E15A72F6}" destId="{BED4D695-C04C-436E-A74D-2F572DF71B9A}" srcOrd="1" destOrd="0" presId="urn:microsoft.com/office/officeart/2005/8/layout/orgChart1"/>
    <dgm:cxn modelId="{10C7A22A-5B49-42ED-80D4-3EDDFB514A87}" type="presOf" srcId="{5C5F1CE9-9C96-4D58-8839-1F649FF38720}" destId="{4C3D0FC5-BE89-4D18-A9AA-EFAFD1C54303}" srcOrd="0" destOrd="0" presId="urn:microsoft.com/office/officeart/2005/8/layout/orgChart1"/>
    <dgm:cxn modelId="{3C75C16D-541C-4348-B71A-A902DB664448}" srcId="{0A17149A-BDE1-4284-9941-8FF062408BB1}" destId="{DA5F045B-3562-4D14-8AFB-4403E15A72F6}" srcOrd="3" destOrd="0" parTransId="{0D2BEF4F-6943-4B6F-8CB1-FB1635605401}" sibTransId="{B9AF1E24-A946-4684-8BD6-7EDA9444D001}"/>
    <dgm:cxn modelId="{1B1EDFE9-F9AF-4696-A479-372771D728D1}" type="presOf" srcId="{0D2BEF4F-6943-4B6F-8CB1-FB1635605401}" destId="{DFE79AE0-EF6A-49DF-A798-AD57277DB041}" srcOrd="0" destOrd="0" presId="urn:microsoft.com/office/officeart/2005/8/layout/orgChart1"/>
    <dgm:cxn modelId="{E6FE9FD4-5231-4F62-99F4-A502C4F2810F}" type="presOf" srcId="{33663CF0-2137-4734-B649-CC6BB5F80AE5}" destId="{4EC31D86-D855-42B3-A629-4F4F0354BB8E}" srcOrd="0" destOrd="0" presId="urn:microsoft.com/office/officeart/2005/8/layout/orgChart1"/>
    <dgm:cxn modelId="{E23E3A40-8CEB-41BD-9AA6-C0B6BF657AA6}" type="presOf" srcId="{DE5B1F53-5EB9-415A-8624-6B19C10D741E}" destId="{BAF4CF3F-413E-4BE3-8029-ADEEFF361E1F}" srcOrd="0" destOrd="0" presId="urn:microsoft.com/office/officeart/2005/8/layout/orgChart1"/>
    <dgm:cxn modelId="{7F0C4167-C639-4244-9964-863D6ABB86C5}" type="presOf" srcId="{CFB274F1-7D75-4972-A8AB-AD9C48179B7A}" destId="{6C9B2FF6-4AEC-4AA1-9F80-595AB4C2B244}" srcOrd="0" destOrd="0" presId="urn:microsoft.com/office/officeart/2005/8/layout/orgChart1"/>
    <dgm:cxn modelId="{7AFF96AB-98BA-41C0-88BD-5B67CBCDEEB3}" type="presOf" srcId="{05CD2950-F082-4551-8FA0-CDE4157ED17D}" destId="{8E92ECC0-0B6D-432E-99B4-035EE6990687}" srcOrd="0" destOrd="0" presId="urn:microsoft.com/office/officeart/2005/8/layout/orgChart1"/>
    <dgm:cxn modelId="{BD3F3A32-006F-4AFE-97D0-C879B804D2E4}" type="presOf" srcId="{ADE040F1-B7D8-43FB-85D0-B389C45BEC8E}" destId="{917F332E-7C61-4E40-8AE9-1B0A5C91EAFC}" srcOrd="0" destOrd="0" presId="urn:microsoft.com/office/officeart/2005/8/layout/orgChart1"/>
    <dgm:cxn modelId="{848C76D2-6E72-43A2-A265-85436BB0EC8A}" type="presOf" srcId="{95D25010-84C9-4658-83A0-162D898C8A6D}" destId="{17A742CB-C3FD-493B-BE01-55FB0B6BEA54}" srcOrd="0" destOrd="0" presId="urn:microsoft.com/office/officeart/2005/8/layout/orgChart1"/>
    <dgm:cxn modelId="{7162E9DB-2550-4573-A39C-1E9B58584DC0}" type="presOf" srcId="{33663CF0-2137-4734-B649-CC6BB5F80AE5}" destId="{34305AD2-483B-4191-8F02-9EE8440F5191}" srcOrd="1" destOrd="0" presId="urn:microsoft.com/office/officeart/2005/8/layout/orgChart1"/>
    <dgm:cxn modelId="{CD1CFA41-DBD2-4D78-B43B-D91E13E43D32}" srcId="{0A17149A-BDE1-4284-9941-8FF062408BB1}" destId="{CFB274F1-7D75-4972-A8AB-AD9C48179B7A}" srcOrd="2" destOrd="0" parTransId="{ADE040F1-B7D8-43FB-85D0-B389C45BEC8E}" sibTransId="{06C947A1-DF78-4108-8441-C40300E70BED}"/>
    <dgm:cxn modelId="{16C051A2-C4A0-4D76-8804-43E22F3D0157}" type="presOf" srcId="{DA5F045B-3562-4D14-8AFB-4403E15A72F6}" destId="{525DB26E-E1C1-4751-832D-8C876281DCE0}" srcOrd="0" destOrd="0" presId="urn:microsoft.com/office/officeart/2005/8/layout/orgChart1"/>
    <dgm:cxn modelId="{6E9CC1CE-4AC2-4744-963A-0870154ABA07}" type="presOf" srcId="{0A17149A-BDE1-4284-9941-8FF062408BB1}" destId="{B268BD8C-6918-47EB-8D8A-2A7DA23D2730}" srcOrd="0" destOrd="0" presId="urn:microsoft.com/office/officeart/2005/8/layout/orgChart1"/>
    <dgm:cxn modelId="{F495B2E2-D5AA-471E-84C7-9E9E2A6B8E63}" srcId="{0A17149A-BDE1-4284-9941-8FF062408BB1}" destId="{33663CF0-2137-4734-B649-CC6BB5F80AE5}" srcOrd="4" destOrd="0" parTransId="{DE5B1F53-5EB9-415A-8624-6B19C10D741E}" sibTransId="{E509B83F-11F2-4AC6-B79B-5B934B400986}"/>
    <dgm:cxn modelId="{7591EF8F-8CC9-4095-A791-79EE7AE0508E}" type="presOf" srcId="{5C5F1CE9-9C96-4D58-8839-1F649FF38720}" destId="{BB3A309D-FD6C-441B-BCB3-73D9EC92A70C}" srcOrd="1" destOrd="0" presId="urn:microsoft.com/office/officeart/2005/8/layout/orgChart1"/>
    <dgm:cxn modelId="{AF8F6C5F-F588-4C85-9C9E-E384A50BF35C}" type="presOf" srcId="{138CA752-5A56-43BC-B1AF-C451EB6E952E}" destId="{BE7B1FFA-5724-4CA1-941B-F4A66078361F}" srcOrd="0" destOrd="0" presId="urn:microsoft.com/office/officeart/2005/8/layout/orgChart1"/>
    <dgm:cxn modelId="{5CD70323-AA11-4EC8-A175-223D6B2F56F2}" type="presOf" srcId="{7D5D405A-D07C-419D-9CB5-93D17FA477AA}" destId="{7143D64A-20B5-4520-9002-42791575BF9C}" srcOrd="0" destOrd="0" presId="urn:microsoft.com/office/officeart/2005/8/layout/orgChart1"/>
    <dgm:cxn modelId="{B87FB95A-EDCA-45A7-B950-8AE1D463CA7E}" type="presOf" srcId="{7D5D405A-D07C-419D-9CB5-93D17FA477AA}" destId="{1ED8B27F-F709-47F9-ADCA-ABAA50914D63}" srcOrd="1" destOrd="0" presId="urn:microsoft.com/office/officeart/2005/8/layout/orgChart1"/>
    <dgm:cxn modelId="{9BC31007-A26D-40BC-9AA2-75D6C8651C3B}" type="presOf" srcId="{138CA752-5A56-43BC-B1AF-C451EB6E952E}" destId="{E997548B-648C-4B37-A229-3F695288746B}" srcOrd="1" destOrd="0" presId="urn:microsoft.com/office/officeart/2005/8/layout/orgChart1"/>
    <dgm:cxn modelId="{C1E1DE70-AF60-4DE5-BA22-3CE8C973EC6F}" srcId="{B3CCDDC5-4909-47E0-BC02-AFD815B620AC}" destId="{0A17149A-BDE1-4284-9941-8FF062408BB1}" srcOrd="0" destOrd="0" parTransId="{7C2A43D8-4609-4B34-A5A9-126A18AA03E9}" sibTransId="{E8FF5A6B-E57E-4C33-BD2F-1943EC98AB2C}"/>
    <dgm:cxn modelId="{7BE72946-FB07-45E2-BAEC-40C407A922CA}" type="presParOf" srcId="{C7D91A8A-DC4A-4496-95E4-F8F92DC0034F}" destId="{572E6940-EA9A-48C2-9F8C-BC5B770D9E07}" srcOrd="0" destOrd="0" presId="urn:microsoft.com/office/officeart/2005/8/layout/orgChart1"/>
    <dgm:cxn modelId="{D5075A21-155A-4D9D-8497-6C70CE3E083C}" type="presParOf" srcId="{572E6940-EA9A-48C2-9F8C-BC5B770D9E07}" destId="{E2360DBE-DACA-4750-BEB5-942835A17086}" srcOrd="0" destOrd="0" presId="urn:microsoft.com/office/officeart/2005/8/layout/orgChart1"/>
    <dgm:cxn modelId="{FE9CA47B-4ACB-4FE0-B684-830275F4B289}" type="presParOf" srcId="{E2360DBE-DACA-4750-BEB5-942835A17086}" destId="{B268BD8C-6918-47EB-8D8A-2A7DA23D2730}" srcOrd="0" destOrd="0" presId="urn:microsoft.com/office/officeart/2005/8/layout/orgChart1"/>
    <dgm:cxn modelId="{BD9F9646-174F-4D60-86CE-159FED278B88}" type="presParOf" srcId="{E2360DBE-DACA-4750-BEB5-942835A17086}" destId="{0759BD84-F323-409F-BE9B-FA8DFC8CA68D}" srcOrd="1" destOrd="0" presId="urn:microsoft.com/office/officeart/2005/8/layout/orgChart1"/>
    <dgm:cxn modelId="{2E159220-4F94-4A77-B4A9-CD10435FD051}" type="presParOf" srcId="{572E6940-EA9A-48C2-9F8C-BC5B770D9E07}" destId="{E559576B-71D5-4B91-8999-2C5B04ED1187}" srcOrd="1" destOrd="0" presId="urn:microsoft.com/office/officeart/2005/8/layout/orgChart1"/>
    <dgm:cxn modelId="{E6A1A2AE-422F-40D4-9E6E-D8D71DFADF4B}" type="presParOf" srcId="{E559576B-71D5-4B91-8999-2C5B04ED1187}" destId="{17A742CB-C3FD-493B-BE01-55FB0B6BEA54}" srcOrd="0" destOrd="0" presId="urn:microsoft.com/office/officeart/2005/8/layout/orgChart1"/>
    <dgm:cxn modelId="{0998FCC7-692C-48ED-8CDA-40F1FCD82DC1}" type="presParOf" srcId="{E559576B-71D5-4B91-8999-2C5B04ED1187}" destId="{A18CC92A-7C6D-4117-AD30-0AF1D73227D0}" srcOrd="1" destOrd="0" presId="urn:microsoft.com/office/officeart/2005/8/layout/orgChart1"/>
    <dgm:cxn modelId="{2D359447-21F4-48AE-BF58-4287CC7371D3}" type="presParOf" srcId="{A18CC92A-7C6D-4117-AD30-0AF1D73227D0}" destId="{4C9BA976-7FF6-4332-B82E-88F6DED744DD}" srcOrd="0" destOrd="0" presId="urn:microsoft.com/office/officeart/2005/8/layout/orgChart1"/>
    <dgm:cxn modelId="{4B73B42E-722C-4762-8779-07E8D07BBE9C}" type="presParOf" srcId="{4C9BA976-7FF6-4332-B82E-88F6DED744DD}" destId="{4C3D0FC5-BE89-4D18-A9AA-EFAFD1C54303}" srcOrd="0" destOrd="0" presId="urn:microsoft.com/office/officeart/2005/8/layout/orgChart1"/>
    <dgm:cxn modelId="{17A54D66-AC04-4C07-B0AF-C1BCB26CBE90}" type="presParOf" srcId="{4C9BA976-7FF6-4332-B82E-88F6DED744DD}" destId="{BB3A309D-FD6C-441B-BCB3-73D9EC92A70C}" srcOrd="1" destOrd="0" presId="urn:microsoft.com/office/officeart/2005/8/layout/orgChart1"/>
    <dgm:cxn modelId="{3111BAE2-7148-45D1-AE15-27FB4625A03F}" type="presParOf" srcId="{A18CC92A-7C6D-4117-AD30-0AF1D73227D0}" destId="{9788C8C8-FD4A-4EE8-8B8F-C5CA203EDF7F}" srcOrd="1" destOrd="0" presId="urn:microsoft.com/office/officeart/2005/8/layout/orgChart1"/>
    <dgm:cxn modelId="{66E25022-29F8-43E1-8786-A4A9FE124483}" type="presParOf" srcId="{A18CC92A-7C6D-4117-AD30-0AF1D73227D0}" destId="{5A2AF528-8B0C-478A-9FDD-E791DFA096C4}" srcOrd="2" destOrd="0" presId="urn:microsoft.com/office/officeart/2005/8/layout/orgChart1"/>
    <dgm:cxn modelId="{2378C183-09E7-4405-9860-7F4B74AB2AA0}" type="presParOf" srcId="{E559576B-71D5-4B91-8999-2C5B04ED1187}" destId="{B4DACFD2-55AF-48D2-A817-0621A1A13B01}" srcOrd="2" destOrd="0" presId="urn:microsoft.com/office/officeart/2005/8/layout/orgChart1"/>
    <dgm:cxn modelId="{4F67A64D-390B-48F8-BC27-070FF3F5379F}" type="presParOf" srcId="{E559576B-71D5-4B91-8999-2C5B04ED1187}" destId="{F65AB65C-5FDB-4552-848C-1646F4B505C9}" srcOrd="3" destOrd="0" presId="urn:microsoft.com/office/officeart/2005/8/layout/orgChart1"/>
    <dgm:cxn modelId="{BD6FE7D8-DBEB-478F-B504-A8F34A88AB8D}" type="presParOf" srcId="{F65AB65C-5FDB-4552-848C-1646F4B505C9}" destId="{010A4167-17FB-4E6C-AA8D-1C9E474AE966}" srcOrd="0" destOrd="0" presId="urn:microsoft.com/office/officeart/2005/8/layout/orgChart1"/>
    <dgm:cxn modelId="{1CD230A8-008B-405A-9062-30924FFE9D02}" type="presParOf" srcId="{010A4167-17FB-4E6C-AA8D-1C9E474AE966}" destId="{7143D64A-20B5-4520-9002-42791575BF9C}" srcOrd="0" destOrd="0" presId="urn:microsoft.com/office/officeart/2005/8/layout/orgChart1"/>
    <dgm:cxn modelId="{7FB4028A-53B3-4CC3-9541-A1C312B6973E}" type="presParOf" srcId="{010A4167-17FB-4E6C-AA8D-1C9E474AE966}" destId="{1ED8B27F-F709-47F9-ADCA-ABAA50914D63}" srcOrd="1" destOrd="0" presId="urn:microsoft.com/office/officeart/2005/8/layout/orgChart1"/>
    <dgm:cxn modelId="{87F0CDC3-C82B-4ABF-B4BA-8EF26CF329AC}" type="presParOf" srcId="{F65AB65C-5FDB-4552-848C-1646F4B505C9}" destId="{520E4BA8-15FD-47B6-A22D-8D2646E02500}" srcOrd="1" destOrd="0" presId="urn:microsoft.com/office/officeart/2005/8/layout/orgChart1"/>
    <dgm:cxn modelId="{0B7B0813-411D-4333-9063-E0BFB1000A38}" type="presParOf" srcId="{F65AB65C-5FDB-4552-848C-1646F4B505C9}" destId="{C5BA672A-DDD1-4658-B3C2-950ABADE7576}" srcOrd="2" destOrd="0" presId="urn:microsoft.com/office/officeart/2005/8/layout/orgChart1"/>
    <dgm:cxn modelId="{31C146D3-07A9-4361-AE23-0490960B27F4}" type="presParOf" srcId="{E559576B-71D5-4B91-8999-2C5B04ED1187}" destId="{917F332E-7C61-4E40-8AE9-1B0A5C91EAFC}" srcOrd="4" destOrd="0" presId="urn:microsoft.com/office/officeart/2005/8/layout/orgChart1"/>
    <dgm:cxn modelId="{7F3EF079-3CE7-4998-A817-718695973A96}" type="presParOf" srcId="{E559576B-71D5-4B91-8999-2C5B04ED1187}" destId="{A43745B0-0479-42D4-AE00-2AE3E2EF8976}" srcOrd="5" destOrd="0" presId="urn:microsoft.com/office/officeart/2005/8/layout/orgChart1"/>
    <dgm:cxn modelId="{45517A4B-C3A4-47C4-8159-CE0E1F2808EF}" type="presParOf" srcId="{A43745B0-0479-42D4-AE00-2AE3E2EF8976}" destId="{F84CD8FD-95CB-40CA-A5CE-58313490755D}" srcOrd="0" destOrd="0" presId="urn:microsoft.com/office/officeart/2005/8/layout/orgChart1"/>
    <dgm:cxn modelId="{C9B86986-9A5C-4D7B-BA0A-1BF80BC149CD}" type="presParOf" srcId="{F84CD8FD-95CB-40CA-A5CE-58313490755D}" destId="{6C9B2FF6-4AEC-4AA1-9F80-595AB4C2B244}" srcOrd="0" destOrd="0" presId="urn:microsoft.com/office/officeart/2005/8/layout/orgChart1"/>
    <dgm:cxn modelId="{6739BDCF-4C88-4A34-817F-DD804FBAAF36}" type="presParOf" srcId="{F84CD8FD-95CB-40CA-A5CE-58313490755D}" destId="{DFA1364C-866A-41B0-9096-6E268FE53D4F}" srcOrd="1" destOrd="0" presId="urn:microsoft.com/office/officeart/2005/8/layout/orgChart1"/>
    <dgm:cxn modelId="{33F2EA5C-41EA-43BE-8DF0-D248AF24F8FC}" type="presParOf" srcId="{A43745B0-0479-42D4-AE00-2AE3E2EF8976}" destId="{9DBB9265-B0A9-4EB6-A49B-923226A14524}" srcOrd="1" destOrd="0" presId="urn:microsoft.com/office/officeart/2005/8/layout/orgChart1"/>
    <dgm:cxn modelId="{51C27F1D-8807-4BFA-8939-919AC84E5550}" type="presParOf" srcId="{A43745B0-0479-42D4-AE00-2AE3E2EF8976}" destId="{49A45904-F228-45F9-8A20-97B246DFD7A4}" srcOrd="2" destOrd="0" presId="urn:microsoft.com/office/officeart/2005/8/layout/orgChart1"/>
    <dgm:cxn modelId="{759F4D5A-05D5-4A6A-A3EA-07D19865959A}" type="presParOf" srcId="{E559576B-71D5-4B91-8999-2C5B04ED1187}" destId="{DFE79AE0-EF6A-49DF-A798-AD57277DB041}" srcOrd="6" destOrd="0" presId="urn:microsoft.com/office/officeart/2005/8/layout/orgChart1"/>
    <dgm:cxn modelId="{D866AC7A-CB6F-401C-A764-BC9D464F8E1F}" type="presParOf" srcId="{E559576B-71D5-4B91-8999-2C5B04ED1187}" destId="{5531C486-14B7-4E6F-9229-1A4D0AA9BE04}" srcOrd="7" destOrd="0" presId="urn:microsoft.com/office/officeart/2005/8/layout/orgChart1"/>
    <dgm:cxn modelId="{1B6F7F98-C3D3-4907-91A6-12BF7228DE09}" type="presParOf" srcId="{5531C486-14B7-4E6F-9229-1A4D0AA9BE04}" destId="{6C52ADA9-CEF5-4340-8B23-9E601E2CC1CA}" srcOrd="0" destOrd="0" presId="urn:microsoft.com/office/officeart/2005/8/layout/orgChart1"/>
    <dgm:cxn modelId="{7478D84F-D97C-47EE-A534-8F77FD1256AA}" type="presParOf" srcId="{6C52ADA9-CEF5-4340-8B23-9E601E2CC1CA}" destId="{525DB26E-E1C1-4751-832D-8C876281DCE0}" srcOrd="0" destOrd="0" presId="urn:microsoft.com/office/officeart/2005/8/layout/orgChart1"/>
    <dgm:cxn modelId="{6DA29840-E5F9-4038-9BA1-B1686215AC7C}" type="presParOf" srcId="{6C52ADA9-CEF5-4340-8B23-9E601E2CC1CA}" destId="{BED4D695-C04C-436E-A74D-2F572DF71B9A}" srcOrd="1" destOrd="0" presId="urn:microsoft.com/office/officeart/2005/8/layout/orgChart1"/>
    <dgm:cxn modelId="{D78E0609-BD05-4709-8281-5781254C2283}" type="presParOf" srcId="{5531C486-14B7-4E6F-9229-1A4D0AA9BE04}" destId="{D03CA35D-72D3-41D0-93CC-ABCA330DC7BA}" srcOrd="1" destOrd="0" presId="urn:microsoft.com/office/officeart/2005/8/layout/orgChart1"/>
    <dgm:cxn modelId="{6872F46F-663E-4ABC-8688-748E7B66D190}" type="presParOf" srcId="{5531C486-14B7-4E6F-9229-1A4D0AA9BE04}" destId="{0FA60C37-CAEF-4364-B60B-FB3EE76E0FCC}" srcOrd="2" destOrd="0" presId="urn:microsoft.com/office/officeart/2005/8/layout/orgChart1"/>
    <dgm:cxn modelId="{9B03BBF6-50C2-4FDD-8749-F98E910CD4AA}" type="presParOf" srcId="{E559576B-71D5-4B91-8999-2C5B04ED1187}" destId="{BAF4CF3F-413E-4BE3-8029-ADEEFF361E1F}" srcOrd="8" destOrd="0" presId="urn:microsoft.com/office/officeart/2005/8/layout/orgChart1"/>
    <dgm:cxn modelId="{9695E480-9AFC-4F61-8463-5E0E40A48B61}" type="presParOf" srcId="{E559576B-71D5-4B91-8999-2C5B04ED1187}" destId="{E770A760-5E0A-4E2C-9F8E-5D8F941BDC01}" srcOrd="9" destOrd="0" presId="urn:microsoft.com/office/officeart/2005/8/layout/orgChart1"/>
    <dgm:cxn modelId="{71344131-0F02-4506-9C52-7E527519924A}" type="presParOf" srcId="{E770A760-5E0A-4E2C-9F8E-5D8F941BDC01}" destId="{807D5FC0-692E-42F5-88A5-4C156B517807}" srcOrd="0" destOrd="0" presId="urn:microsoft.com/office/officeart/2005/8/layout/orgChart1"/>
    <dgm:cxn modelId="{F2A96872-AD64-4E65-8A34-4FFBD585FD1D}" type="presParOf" srcId="{807D5FC0-692E-42F5-88A5-4C156B517807}" destId="{4EC31D86-D855-42B3-A629-4F4F0354BB8E}" srcOrd="0" destOrd="0" presId="urn:microsoft.com/office/officeart/2005/8/layout/orgChart1"/>
    <dgm:cxn modelId="{A0F4E507-3A46-427E-B543-D1F1B6804583}" type="presParOf" srcId="{807D5FC0-692E-42F5-88A5-4C156B517807}" destId="{34305AD2-483B-4191-8F02-9EE8440F5191}" srcOrd="1" destOrd="0" presId="urn:microsoft.com/office/officeart/2005/8/layout/orgChart1"/>
    <dgm:cxn modelId="{6F6769AA-7C23-4A86-9367-E50DC435E041}" type="presParOf" srcId="{E770A760-5E0A-4E2C-9F8E-5D8F941BDC01}" destId="{CA6E7003-6D48-421C-B38A-0FA054830448}" srcOrd="1" destOrd="0" presId="urn:microsoft.com/office/officeart/2005/8/layout/orgChart1"/>
    <dgm:cxn modelId="{9E55E78A-E1D4-4CD8-AE2B-AEB8760EC9EB}" type="presParOf" srcId="{E770A760-5E0A-4E2C-9F8E-5D8F941BDC01}" destId="{77C0B3DD-7F34-46E6-9F65-080E266FBD82}" srcOrd="2" destOrd="0" presId="urn:microsoft.com/office/officeart/2005/8/layout/orgChart1"/>
    <dgm:cxn modelId="{A07CEF84-0B9B-4719-A8E7-F975C56692E2}" type="presParOf" srcId="{E559576B-71D5-4B91-8999-2C5B04ED1187}" destId="{8E92ECC0-0B6D-432E-99B4-035EE6990687}" srcOrd="10" destOrd="0" presId="urn:microsoft.com/office/officeart/2005/8/layout/orgChart1"/>
    <dgm:cxn modelId="{511F7CFD-54AB-494B-8A5A-A834063F4F21}" type="presParOf" srcId="{E559576B-71D5-4B91-8999-2C5B04ED1187}" destId="{232D1831-24FE-4870-AEE1-00E4C595D900}" srcOrd="11" destOrd="0" presId="urn:microsoft.com/office/officeart/2005/8/layout/orgChart1"/>
    <dgm:cxn modelId="{9650FF01-29D1-4C01-854C-5A61F16950C6}" type="presParOf" srcId="{232D1831-24FE-4870-AEE1-00E4C595D900}" destId="{4C711F90-AD92-4EF6-8A3A-46CFC62AA747}" srcOrd="0" destOrd="0" presId="urn:microsoft.com/office/officeart/2005/8/layout/orgChart1"/>
    <dgm:cxn modelId="{245AD212-E5CA-4254-9023-7127166231D1}" type="presParOf" srcId="{4C711F90-AD92-4EF6-8A3A-46CFC62AA747}" destId="{BE7B1FFA-5724-4CA1-941B-F4A66078361F}" srcOrd="0" destOrd="0" presId="urn:microsoft.com/office/officeart/2005/8/layout/orgChart1"/>
    <dgm:cxn modelId="{21E1DB58-E0A3-4B15-9322-B1A8C6B51374}" type="presParOf" srcId="{4C711F90-AD92-4EF6-8A3A-46CFC62AA747}" destId="{E997548B-648C-4B37-A229-3F695288746B}" srcOrd="1" destOrd="0" presId="urn:microsoft.com/office/officeart/2005/8/layout/orgChart1"/>
    <dgm:cxn modelId="{58379107-5C8C-4F8F-B021-6FC63FC16993}" type="presParOf" srcId="{232D1831-24FE-4870-AEE1-00E4C595D900}" destId="{AA1ED12B-C409-443F-BDC5-D7B602991EA6}" srcOrd="1" destOrd="0" presId="urn:microsoft.com/office/officeart/2005/8/layout/orgChart1"/>
    <dgm:cxn modelId="{58A95EA8-C03C-40EE-BE79-1576F73C7BA9}" type="presParOf" srcId="{232D1831-24FE-4870-AEE1-00E4C595D900}" destId="{9787DB69-55DA-432F-AD8F-027B5AE652CF}" srcOrd="2" destOrd="0" presId="urn:microsoft.com/office/officeart/2005/8/layout/orgChart1"/>
    <dgm:cxn modelId="{F48D2D38-561F-4AF2-857C-34FA46B7689F}" type="presParOf" srcId="{572E6940-EA9A-48C2-9F8C-BC5B770D9E07}" destId="{C8CFFACC-7584-4612-B425-5F0CE9EC3460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3CCDDC5-4909-47E0-BC02-AFD815B620AC}" type="doc">
      <dgm:prSet loTypeId="urn:microsoft.com/office/officeart/2005/8/layout/orgChart1" loCatId="hierarchy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A17149A-BDE1-4284-9941-8FF062408BB1}">
      <dgm:prSet phldrT="[Text]"/>
      <dgm:spPr/>
      <dgm:t>
        <a:bodyPr/>
        <a:lstStyle/>
        <a:p>
          <a:r>
            <a:rPr lang="sv-SE" dirty="0" smtClean="0"/>
            <a:t>Product Owner</a:t>
          </a:r>
          <a:endParaRPr lang="en-US" dirty="0"/>
        </a:p>
      </dgm:t>
    </dgm:pt>
    <dgm:pt modelId="{7C2A43D8-4609-4B34-A5A9-126A18AA03E9}" type="parTrans" cxnId="{C1E1DE70-AF60-4DE5-BA22-3CE8C973EC6F}">
      <dgm:prSet/>
      <dgm:spPr/>
      <dgm:t>
        <a:bodyPr/>
        <a:lstStyle/>
        <a:p>
          <a:endParaRPr lang="en-US"/>
        </a:p>
      </dgm:t>
    </dgm:pt>
    <dgm:pt modelId="{E8FF5A6B-E57E-4C33-BD2F-1943EC98AB2C}" type="sibTrans" cxnId="{C1E1DE70-AF60-4DE5-BA22-3CE8C973EC6F}">
      <dgm:prSet/>
      <dgm:spPr/>
      <dgm:t>
        <a:bodyPr/>
        <a:lstStyle/>
        <a:p>
          <a:endParaRPr lang="en-US"/>
        </a:p>
      </dgm:t>
    </dgm:pt>
    <dgm:pt modelId="{8E60670D-19C7-44E2-BB45-7E173A25A2C6}">
      <dgm:prSet phldrT="[Text]"/>
      <dgm:spPr/>
      <dgm:t>
        <a:bodyPr/>
        <a:lstStyle/>
        <a:p>
          <a:r>
            <a:rPr lang="sv-SE" dirty="0" smtClean="0"/>
            <a:t>Backlog Platform </a:t>
          </a:r>
          <a:endParaRPr lang="en-US" dirty="0"/>
        </a:p>
      </dgm:t>
    </dgm:pt>
    <dgm:pt modelId="{AE8A8160-62E4-43A3-98D6-E881AD03328D}" type="parTrans" cxnId="{4AB906BD-2FD4-474C-B750-EAD6839EAD62}">
      <dgm:prSet/>
      <dgm:spPr/>
      <dgm:t>
        <a:bodyPr/>
        <a:lstStyle/>
        <a:p>
          <a:endParaRPr lang="en-US"/>
        </a:p>
      </dgm:t>
    </dgm:pt>
    <dgm:pt modelId="{C541E498-7065-41A1-A557-B638B3AFF992}" type="sibTrans" cxnId="{4AB906BD-2FD4-474C-B750-EAD6839EAD62}">
      <dgm:prSet/>
      <dgm:spPr/>
      <dgm:t>
        <a:bodyPr/>
        <a:lstStyle/>
        <a:p>
          <a:endParaRPr lang="en-US"/>
        </a:p>
      </dgm:t>
    </dgm:pt>
    <dgm:pt modelId="{7D5D405A-D07C-419D-9CB5-93D17FA477AA}">
      <dgm:prSet phldrT="[Text]"/>
      <dgm:spPr/>
      <dgm:t>
        <a:bodyPr/>
        <a:lstStyle/>
        <a:p>
          <a:r>
            <a:rPr lang="sv-SE" dirty="0" smtClean="0"/>
            <a:t>Backlog </a:t>
          </a:r>
          <a:r>
            <a:rPr lang="en-US" dirty="0" smtClean="0"/>
            <a:t>Business</a:t>
          </a:r>
          <a:endParaRPr lang="en-US" dirty="0"/>
        </a:p>
      </dgm:t>
    </dgm:pt>
    <dgm:pt modelId="{70D6EC45-B8D3-4965-AB81-305E099AD41F}" type="parTrans" cxnId="{E09408CF-5E31-4F41-B3D8-4CE18BABEF14}">
      <dgm:prSet/>
      <dgm:spPr/>
      <dgm:t>
        <a:bodyPr/>
        <a:lstStyle/>
        <a:p>
          <a:endParaRPr lang="en-US"/>
        </a:p>
      </dgm:t>
    </dgm:pt>
    <dgm:pt modelId="{9FF75683-6740-4AC3-B72D-CDA0E1C5232E}" type="sibTrans" cxnId="{E09408CF-5E31-4F41-B3D8-4CE18BABEF14}">
      <dgm:prSet/>
      <dgm:spPr/>
      <dgm:t>
        <a:bodyPr/>
        <a:lstStyle/>
        <a:p>
          <a:endParaRPr lang="en-US"/>
        </a:p>
      </dgm:t>
    </dgm:pt>
    <dgm:pt modelId="{8B30B3BE-3EAC-4515-B070-0DD3467581F1}">
      <dgm:prSet phldrT="[Text]"/>
      <dgm:spPr/>
      <dgm:t>
        <a:bodyPr/>
        <a:lstStyle/>
        <a:p>
          <a:r>
            <a:rPr lang="sv-SE" dirty="0" smtClean="0"/>
            <a:t>PF1 GOT</a:t>
          </a:r>
          <a:endParaRPr lang="en-US" dirty="0"/>
        </a:p>
      </dgm:t>
    </dgm:pt>
    <dgm:pt modelId="{41D64246-97E2-4769-B9FF-11D751146651}" type="parTrans" cxnId="{4FED4B63-B29E-423E-9945-C24DAE0C6ABF}">
      <dgm:prSet/>
      <dgm:spPr/>
      <dgm:t>
        <a:bodyPr/>
        <a:lstStyle/>
        <a:p>
          <a:endParaRPr lang="en-US"/>
        </a:p>
      </dgm:t>
    </dgm:pt>
    <dgm:pt modelId="{46EEC898-4DCB-44C4-A2D9-0E021B212064}" type="sibTrans" cxnId="{4FED4B63-B29E-423E-9945-C24DAE0C6ABF}">
      <dgm:prSet/>
      <dgm:spPr/>
      <dgm:t>
        <a:bodyPr/>
        <a:lstStyle/>
        <a:p>
          <a:endParaRPr lang="en-US"/>
        </a:p>
      </dgm:t>
    </dgm:pt>
    <dgm:pt modelId="{251A30D5-C345-4C54-ADC9-FBC7A231D8AA}">
      <dgm:prSet phldrT="[Text]"/>
      <dgm:spPr/>
      <dgm:t>
        <a:bodyPr/>
        <a:lstStyle/>
        <a:p>
          <a:r>
            <a:rPr lang="sv-SE" dirty="0" smtClean="0"/>
            <a:t>PF2 GOT</a:t>
          </a:r>
          <a:endParaRPr lang="en-US" dirty="0"/>
        </a:p>
      </dgm:t>
    </dgm:pt>
    <dgm:pt modelId="{3DC1A82A-AEFA-4A03-BDF2-DEFB6851DF41}" type="parTrans" cxnId="{27108BF5-2506-4B93-AE8E-C9576F71DD46}">
      <dgm:prSet/>
      <dgm:spPr/>
      <dgm:t>
        <a:bodyPr/>
        <a:lstStyle/>
        <a:p>
          <a:endParaRPr lang="en-US"/>
        </a:p>
      </dgm:t>
    </dgm:pt>
    <dgm:pt modelId="{0C3DBE95-3A59-4A5F-867F-7BD98B6A8397}" type="sibTrans" cxnId="{27108BF5-2506-4B93-AE8E-C9576F71DD46}">
      <dgm:prSet/>
      <dgm:spPr/>
      <dgm:t>
        <a:bodyPr/>
        <a:lstStyle/>
        <a:p>
          <a:endParaRPr lang="en-US"/>
        </a:p>
      </dgm:t>
    </dgm:pt>
    <dgm:pt modelId="{9AD7289F-3A86-4C22-B6AF-DA006CD37DB4}">
      <dgm:prSet phldrT="[Text]"/>
      <dgm:spPr/>
      <dgm:t>
        <a:bodyPr/>
        <a:lstStyle/>
        <a:p>
          <a:r>
            <a:rPr lang="en-US" dirty="0" smtClean="0"/>
            <a:t>Business </a:t>
          </a:r>
          <a:r>
            <a:rPr lang="sv-SE" dirty="0" smtClean="0"/>
            <a:t>1</a:t>
          </a:r>
          <a:r>
            <a:rPr lang="en-US" dirty="0" smtClean="0"/>
            <a:t> GOT</a:t>
          </a:r>
          <a:endParaRPr lang="en-US" dirty="0"/>
        </a:p>
      </dgm:t>
    </dgm:pt>
    <dgm:pt modelId="{95512099-6738-4F35-A0B4-E84B4A02509B}" type="parTrans" cxnId="{0EE04508-C4FA-49F4-84D9-C6989A8CCC92}">
      <dgm:prSet/>
      <dgm:spPr/>
      <dgm:t>
        <a:bodyPr/>
        <a:lstStyle/>
        <a:p>
          <a:endParaRPr lang="en-US"/>
        </a:p>
      </dgm:t>
    </dgm:pt>
    <dgm:pt modelId="{1C4C17D4-798A-438E-AADA-2DECD4EEB921}" type="sibTrans" cxnId="{0EE04508-C4FA-49F4-84D9-C6989A8CCC92}">
      <dgm:prSet/>
      <dgm:spPr/>
      <dgm:t>
        <a:bodyPr/>
        <a:lstStyle/>
        <a:p>
          <a:endParaRPr lang="en-US"/>
        </a:p>
      </dgm:t>
    </dgm:pt>
    <dgm:pt modelId="{DC751DE2-EEE2-403B-8AC6-0DDF5C1BDAF1}">
      <dgm:prSet phldrT="[Text]"/>
      <dgm:spPr/>
      <dgm:t>
        <a:bodyPr/>
        <a:lstStyle/>
        <a:p>
          <a:r>
            <a:rPr lang="en-US" dirty="0" smtClean="0"/>
            <a:t>Business </a:t>
          </a:r>
          <a:r>
            <a:rPr lang="sv-SE" dirty="0" smtClean="0"/>
            <a:t>2 BLR</a:t>
          </a:r>
          <a:endParaRPr lang="en-US" dirty="0"/>
        </a:p>
      </dgm:t>
    </dgm:pt>
    <dgm:pt modelId="{F7621466-DB59-443F-8F75-55458EE41CAA}" type="parTrans" cxnId="{89F946B7-858D-4418-9FBE-404D696B2D41}">
      <dgm:prSet/>
      <dgm:spPr/>
      <dgm:t>
        <a:bodyPr/>
        <a:lstStyle/>
        <a:p>
          <a:endParaRPr lang="en-US"/>
        </a:p>
      </dgm:t>
    </dgm:pt>
    <dgm:pt modelId="{C2A90C6A-08AF-47C4-88C6-1444CB8B5071}" type="sibTrans" cxnId="{89F946B7-858D-4418-9FBE-404D696B2D41}">
      <dgm:prSet/>
      <dgm:spPr/>
      <dgm:t>
        <a:bodyPr/>
        <a:lstStyle/>
        <a:p>
          <a:endParaRPr lang="en-US"/>
        </a:p>
      </dgm:t>
    </dgm:pt>
    <dgm:pt modelId="{E9CA6E09-DAEA-4C27-A1A8-FB83BCFCD53F}">
      <dgm:prSet phldrT="[Text]"/>
      <dgm:spPr/>
      <dgm:t>
        <a:bodyPr/>
        <a:lstStyle/>
        <a:p>
          <a:r>
            <a:rPr lang="en-US" dirty="0" smtClean="0"/>
            <a:t>Business </a:t>
          </a:r>
          <a:r>
            <a:rPr lang="sv-SE" dirty="0" smtClean="0"/>
            <a:t>3 BLR</a:t>
          </a:r>
          <a:endParaRPr lang="en-US" dirty="0"/>
        </a:p>
      </dgm:t>
    </dgm:pt>
    <dgm:pt modelId="{652BA015-CEC6-44F8-96FA-ABA421DF5E83}" type="parTrans" cxnId="{A3614D3D-F63A-4909-8CFF-B22989E6549C}">
      <dgm:prSet/>
      <dgm:spPr/>
      <dgm:t>
        <a:bodyPr/>
        <a:lstStyle/>
        <a:p>
          <a:endParaRPr lang="en-US"/>
        </a:p>
      </dgm:t>
    </dgm:pt>
    <dgm:pt modelId="{8EF6A9FB-B75B-41A8-8969-B35631004E15}" type="sibTrans" cxnId="{A3614D3D-F63A-4909-8CFF-B22989E6549C}">
      <dgm:prSet/>
      <dgm:spPr/>
      <dgm:t>
        <a:bodyPr/>
        <a:lstStyle/>
        <a:p>
          <a:endParaRPr lang="en-US"/>
        </a:p>
      </dgm:t>
    </dgm:pt>
    <dgm:pt modelId="{2B6AF21B-B10A-46E8-B806-409F122241E6}" type="asst">
      <dgm:prSet/>
      <dgm:spPr/>
      <dgm:t>
        <a:bodyPr/>
        <a:lstStyle/>
        <a:p>
          <a:r>
            <a:rPr lang="sv-SE" dirty="0" smtClean="0"/>
            <a:t>SW Product Architect</a:t>
          </a:r>
          <a:endParaRPr lang="en-US" dirty="0"/>
        </a:p>
      </dgm:t>
    </dgm:pt>
    <dgm:pt modelId="{008D8F73-FDAB-4A4E-A926-0E4A462F13B9}" type="parTrans" cxnId="{0F090C39-0FE0-43C6-84B2-6FD6CCA7991B}">
      <dgm:prSet/>
      <dgm:spPr/>
      <dgm:t>
        <a:bodyPr/>
        <a:lstStyle/>
        <a:p>
          <a:endParaRPr lang="en-US"/>
        </a:p>
      </dgm:t>
    </dgm:pt>
    <dgm:pt modelId="{835F35FB-C2ED-475D-BD7C-06349801AE79}" type="sibTrans" cxnId="{0F090C39-0FE0-43C6-84B2-6FD6CCA7991B}">
      <dgm:prSet/>
      <dgm:spPr/>
      <dgm:t>
        <a:bodyPr/>
        <a:lstStyle/>
        <a:p>
          <a:endParaRPr lang="en-US"/>
        </a:p>
      </dgm:t>
    </dgm:pt>
    <dgm:pt modelId="{B0BCCE85-F3C2-4CEE-9363-1FB9A5077B50}" type="asst">
      <dgm:prSet/>
      <dgm:spPr/>
      <dgm:t>
        <a:bodyPr/>
        <a:lstStyle/>
        <a:p>
          <a:r>
            <a:rPr lang="sv-SE" dirty="0" smtClean="0"/>
            <a:t>SW Verification Architect</a:t>
          </a:r>
          <a:endParaRPr lang="en-US" dirty="0"/>
        </a:p>
      </dgm:t>
    </dgm:pt>
    <dgm:pt modelId="{EB6759A9-0BD6-42D4-8A90-3AB0FF7BAA85}" type="parTrans" cxnId="{4CA1CCBF-FFD1-4E31-964D-3535401E01D6}">
      <dgm:prSet/>
      <dgm:spPr/>
      <dgm:t>
        <a:bodyPr/>
        <a:lstStyle/>
        <a:p>
          <a:endParaRPr lang="en-US"/>
        </a:p>
      </dgm:t>
    </dgm:pt>
    <dgm:pt modelId="{1EE9DECA-0632-4291-A932-18C69E28BC17}" type="sibTrans" cxnId="{4CA1CCBF-FFD1-4E31-964D-3535401E01D6}">
      <dgm:prSet/>
      <dgm:spPr/>
      <dgm:t>
        <a:bodyPr/>
        <a:lstStyle/>
        <a:p>
          <a:endParaRPr lang="en-US"/>
        </a:p>
      </dgm:t>
    </dgm:pt>
    <dgm:pt modelId="{F5929430-D625-460E-8CDB-4118D9439515}">
      <dgm:prSet phldrT="[Text]"/>
      <dgm:spPr/>
      <dgm:t>
        <a:bodyPr/>
        <a:lstStyle/>
        <a:p>
          <a:r>
            <a:rPr lang="en-US" dirty="0" smtClean="0"/>
            <a:t>Business 4 Altran</a:t>
          </a:r>
          <a:endParaRPr lang="en-US" dirty="0"/>
        </a:p>
      </dgm:t>
    </dgm:pt>
    <dgm:pt modelId="{DA524611-133F-499D-AD67-B1F246EFE6AD}" type="parTrans" cxnId="{0D06FFAC-5DE5-461F-B1DA-CF341763042F}">
      <dgm:prSet/>
      <dgm:spPr/>
      <dgm:t>
        <a:bodyPr/>
        <a:lstStyle/>
        <a:p>
          <a:endParaRPr lang="en-US"/>
        </a:p>
      </dgm:t>
    </dgm:pt>
    <dgm:pt modelId="{C86F6AC3-E23F-4A09-8AC7-807A426B5124}" type="sibTrans" cxnId="{0D06FFAC-5DE5-461F-B1DA-CF341763042F}">
      <dgm:prSet/>
      <dgm:spPr/>
      <dgm:t>
        <a:bodyPr/>
        <a:lstStyle/>
        <a:p>
          <a:endParaRPr lang="en-US"/>
        </a:p>
      </dgm:t>
    </dgm:pt>
    <dgm:pt modelId="{C94B4EC2-240E-41F7-8CE6-1D77D9913EB9}">
      <dgm:prSet phldrT="[Text]"/>
      <dgm:spPr/>
      <dgm:t>
        <a:bodyPr/>
        <a:lstStyle/>
        <a:p>
          <a:r>
            <a:rPr lang="sv-SE" dirty="0" smtClean="0"/>
            <a:t>MRRT Backlog</a:t>
          </a:r>
          <a:endParaRPr lang="en-US" dirty="0"/>
        </a:p>
      </dgm:t>
    </dgm:pt>
    <dgm:pt modelId="{98B83F1A-1524-43E6-A0D4-F1367ED25113}" type="sibTrans" cxnId="{6EF6741F-F453-4874-8024-08BD248760C0}">
      <dgm:prSet/>
      <dgm:spPr/>
      <dgm:t>
        <a:bodyPr/>
        <a:lstStyle/>
        <a:p>
          <a:endParaRPr lang="en-US"/>
        </a:p>
      </dgm:t>
    </dgm:pt>
    <dgm:pt modelId="{8B26C9A7-BF69-4AF4-9127-EDD0507AD3D9}" type="parTrans" cxnId="{6EF6741F-F453-4874-8024-08BD248760C0}">
      <dgm:prSet/>
      <dgm:spPr/>
      <dgm:t>
        <a:bodyPr/>
        <a:lstStyle/>
        <a:p>
          <a:endParaRPr lang="en-US"/>
        </a:p>
      </dgm:t>
    </dgm:pt>
    <dgm:pt modelId="{EB69651D-28A8-4C92-8B26-8D0818BB9818}">
      <dgm:prSet phldrT="[Text]"/>
      <dgm:spPr/>
      <dgm:t>
        <a:bodyPr/>
        <a:lstStyle/>
        <a:p>
          <a:r>
            <a:rPr lang="sv-SE" dirty="0" smtClean="0"/>
            <a:t>E2E Backlog GOT</a:t>
          </a:r>
          <a:endParaRPr lang="en-US" dirty="0"/>
        </a:p>
      </dgm:t>
    </dgm:pt>
    <dgm:pt modelId="{8F602ED1-58A9-447E-82CD-959FD1F18E12}" type="parTrans" cxnId="{D6E2ECDD-67CE-4A9E-8136-E5EC24141D4D}">
      <dgm:prSet/>
      <dgm:spPr/>
      <dgm:t>
        <a:bodyPr/>
        <a:lstStyle/>
        <a:p>
          <a:endParaRPr lang="en-US"/>
        </a:p>
      </dgm:t>
    </dgm:pt>
    <dgm:pt modelId="{C2CB07CA-5B42-4295-8F57-FACCA1350277}" type="sibTrans" cxnId="{D6E2ECDD-67CE-4A9E-8136-E5EC24141D4D}">
      <dgm:prSet/>
      <dgm:spPr/>
      <dgm:t>
        <a:bodyPr/>
        <a:lstStyle/>
        <a:p>
          <a:endParaRPr lang="en-US"/>
        </a:p>
      </dgm:t>
    </dgm:pt>
    <dgm:pt modelId="{11A46D18-5DD7-4127-A56C-7286804EE398}">
      <dgm:prSet phldrT="[Text]"/>
      <dgm:spPr/>
      <dgm:t>
        <a:bodyPr/>
        <a:lstStyle/>
        <a:p>
          <a:r>
            <a:rPr lang="sv-SE" dirty="0" smtClean="0"/>
            <a:t>E2E Backlog GSO</a:t>
          </a:r>
          <a:endParaRPr lang="en-US" dirty="0"/>
        </a:p>
      </dgm:t>
    </dgm:pt>
    <dgm:pt modelId="{3973610A-5B9C-49E6-A6D4-A3CBEE02E96B}" type="parTrans" cxnId="{94A47196-9C2E-473C-ACCD-A666E1C5152E}">
      <dgm:prSet/>
      <dgm:spPr/>
      <dgm:t>
        <a:bodyPr/>
        <a:lstStyle/>
        <a:p>
          <a:endParaRPr lang="en-US"/>
        </a:p>
      </dgm:t>
    </dgm:pt>
    <dgm:pt modelId="{F395C1C1-8527-4251-9776-6F1620ED78B3}" type="sibTrans" cxnId="{94A47196-9C2E-473C-ACCD-A666E1C5152E}">
      <dgm:prSet/>
      <dgm:spPr/>
      <dgm:t>
        <a:bodyPr/>
        <a:lstStyle/>
        <a:p>
          <a:endParaRPr lang="en-US"/>
        </a:p>
      </dgm:t>
    </dgm:pt>
    <dgm:pt modelId="{1C8B0F15-A394-44E0-AB7C-F12F7C1F789A}">
      <dgm:prSet phldrT="[Text]"/>
      <dgm:spPr/>
      <dgm:t>
        <a:bodyPr/>
        <a:lstStyle/>
        <a:p>
          <a:r>
            <a:rPr lang="sv-SE" dirty="0" smtClean="0"/>
            <a:t>E2E Backlog AGEO</a:t>
          </a:r>
          <a:endParaRPr lang="en-US" dirty="0"/>
        </a:p>
      </dgm:t>
    </dgm:pt>
    <dgm:pt modelId="{BA2E395F-F446-4130-A2FE-B77D316B16B6}" type="parTrans" cxnId="{EE0AF903-C320-4E31-81DE-4DB5EB74B64D}">
      <dgm:prSet/>
      <dgm:spPr/>
      <dgm:t>
        <a:bodyPr/>
        <a:lstStyle/>
        <a:p>
          <a:endParaRPr lang="en-US"/>
        </a:p>
      </dgm:t>
    </dgm:pt>
    <dgm:pt modelId="{85DFDB22-6D0F-44B0-8827-B5E049810AF8}" type="sibTrans" cxnId="{EE0AF903-C320-4E31-81DE-4DB5EB74B64D}">
      <dgm:prSet/>
      <dgm:spPr/>
      <dgm:t>
        <a:bodyPr/>
        <a:lstStyle/>
        <a:p>
          <a:endParaRPr lang="en-US"/>
        </a:p>
      </dgm:t>
    </dgm:pt>
    <dgm:pt modelId="{0B8F376A-64B7-4B15-B307-86E256470300}">
      <dgm:prSet phldrT="[Text]"/>
      <dgm:spPr/>
      <dgm:t>
        <a:bodyPr/>
        <a:lstStyle/>
        <a:p>
          <a:r>
            <a:rPr lang="sv-SE" dirty="0" smtClean="0"/>
            <a:t>E2E Backlog BLR</a:t>
          </a:r>
          <a:endParaRPr lang="en-US" dirty="0"/>
        </a:p>
      </dgm:t>
    </dgm:pt>
    <dgm:pt modelId="{A4CF857B-D09C-4B39-977A-582FE8A719F8}" type="parTrans" cxnId="{B8A72E6F-C7EB-4F96-94BC-B636F34F76AB}">
      <dgm:prSet/>
      <dgm:spPr/>
      <dgm:t>
        <a:bodyPr/>
        <a:lstStyle/>
        <a:p>
          <a:endParaRPr lang="en-US"/>
        </a:p>
      </dgm:t>
    </dgm:pt>
    <dgm:pt modelId="{39F595BD-BC47-4B40-848B-C4FDB691D1BF}" type="sibTrans" cxnId="{B8A72E6F-C7EB-4F96-94BC-B636F34F76AB}">
      <dgm:prSet/>
      <dgm:spPr/>
      <dgm:t>
        <a:bodyPr/>
        <a:lstStyle/>
        <a:p>
          <a:endParaRPr lang="en-US"/>
        </a:p>
      </dgm:t>
    </dgm:pt>
    <dgm:pt modelId="{5F6C7A07-E594-44E0-B6E6-8CC2B7536E81}">
      <dgm:prSet phldrT="[Text]"/>
      <dgm:spPr/>
      <dgm:t>
        <a:bodyPr/>
        <a:lstStyle/>
        <a:p>
          <a:r>
            <a:rPr lang="sv-SE" dirty="0" smtClean="0"/>
            <a:t>MRRT GOT</a:t>
          </a:r>
          <a:endParaRPr lang="en-US" dirty="0"/>
        </a:p>
      </dgm:t>
    </dgm:pt>
    <dgm:pt modelId="{218C4AA4-7B34-4F30-99DE-0D7F248A0057}" type="parTrans" cxnId="{E2C8AA62-16EF-40A4-847F-B52A994808C9}">
      <dgm:prSet/>
      <dgm:spPr/>
      <dgm:t>
        <a:bodyPr/>
        <a:lstStyle/>
        <a:p>
          <a:endParaRPr lang="en-US"/>
        </a:p>
      </dgm:t>
    </dgm:pt>
    <dgm:pt modelId="{D6457C9A-0519-4E0F-A9BB-98D6F159045B}" type="sibTrans" cxnId="{E2C8AA62-16EF-40A4-847F-B52A994808C9}">
      <dgm:prSet/>
      <dgm:spPr/>
      <dgm:t>
        <a:bodyPr/>
        <a:lstStyle/>
        <a:p>
          <a:endParaRPr lang="en-US"/>
        </a:p>
      </dgm:t>
    </dgm:pt>
    <dgm:pt modelId="{DFA8EEDC-A5AE-4A27-86CE-9B90ACEC6710}">
      <dgm:prSet phldrT="[Text]"/>
      <dgm:spPr/>
      <dgm:t>
        <a:bodyPr/>
        <a:lstStyle/>
        <a:p>
          <a:r>
            <a:rPr lang="en-US" dirty="0" smtClean="0"/>
            <a:t>MRRT / E2E </a:t>
          </a:r>
          <a:r>
            <a:rPr lang="sv-SE" dirty="0" smtClean="0"/>
            <a:t>Altran</a:t>
          </a:r>
          <a:endParaRPr lang="en-US" dirty="0"/>
        </a:p>
      </dgm:t>
    </dgm:pt>
    <dgm:pt modelId="{D40242F9-4172-41A3-B917-FE00BF62F19B}" type="parTrans" cxnId="{A64418EA-2651-4788-928F-AB2E4A0D14D9}">
      <dgm:prSet/>
      <dgm:spPr/>
      <dgm:t>
        <a:bodyPr/>
        <a:lstStyle/>
        <a:p>
          <a:endParaRPr lang="en-US"/>
        </a:p>
      </dgm:t>
    </dgm:pt>
    <dgm:pt modelId="{AC14EE20-1EBB-4BE3-BE20-A74EF0AC7A58}" type="sibTrans" cxnId="{A64418EA-2651-4788-928F-AB2E4A0D14D9}">
      <dgm:prSet/>
      <dgm:spPr/>
      <dgm:t>
        <a:bodyPr/>
        <a:lstStyle/>
        <a:p>
          <a:endParaRPr lang="en-US"/>
        </a:p>
      </dgm:t>
    </dgm:pt>
    <dgm:pt modelId="{6AF61506-9CEF-457E-8E9C-326BBAE91594}">
      <dgm:prSet phldrT="[Text]"/>
      <dgm:spPr/>
      <dgm:t>
        <a:bodyPr/>
        <a:lstStyle/>
        <a:p>
          <a:r>
            <a:rPr lang="en-US" dirty="0" smtClean="0"/>
            <a:t>MRRT / E2E </a:t>
          </a:r>
          <a:r>
            <a:rPr lang="sv-SE" dirty="0" smtClean="0"/>
            <a:t>Altran</a:t>
          </a:r>
          <a:endParaRPr lang="en-US" dirty="0"/>
        </a:p>
      </dgm:t>
    </dgm:pt>
    <dgm:pt modelId="{D5CE0C34-5FD0-4DB1-8714-1E6B7428A3F3}" type="parTrans" cxnId="{342A0E85-8252-4CF4-B9CC-35DE13D15FD9}">
      <dgm:prSet/>
      <dgm:spPr/>
      <dgm:t>
        <a:bodyPr/>
        <a:lstStyle/>
        <a:p>
          <a:endParaRPr lang="en-US"/>
        </a:p>
      </dgm:t>
    </dgm:pt>
    <dgm:pt modelId="{1B42FB78-0FCE-4A93-B9ED-CFDCD54FD495}" type="sibTrans" cxnId="{342A0E85-8252-4CF4-B9CC-35DE13D15FD9}">
      <dgm:prSet/>
      <dgm:spPr/>
      <dgm:t>
        <a:bodyPr/>
        <a:lstStyle/>
        <a:p>
          <a:endParaRPr lang="en-US"/>
        </a:p>
      </dgm:t>
    </dgm:pt>
    <dgm:pt modelId="{E0358827-B81C-4084-9BDE-BC78BC7D5692}">
      <dgm:prSet phldrT="[Text]"/>
      <dgm:spPr/>
      <dgm:t>
        <a:bodyPr/>
        <a:lstStyle/>
        <a:p>
          <a:r>
            <a:rPr lang="sv-SE" dirty="0" smtClean="0"/>
            <a:t>E2E GOT</a:t>
          </a:r>
          <a:endParaRPr lang="en-US" dirty="0"/>
        </a:p>
      </dgm:t>
    </dgm:pt>
    <dgm:pt modelId="{74FD77A0-47CE-4E81-86F6-809E3E4B3A64}" type="parTrans" cxnId="{61BAC568-CC15-4C04-89AA-E8CF74C04BF5}">
      <dgm:prSet/>
      <dgm:spPr/>
      <dgm:t>
        <a:bodyPr/>
        <a:lstStyle/>
        <a:p>
          <a:endParaRPr lang="en-US"/>
        </a:p>
      </dgm:t>
    </dgm:pt>
    <dgm:pt modelId="{F776B876-1C3D-42E8-8263-C4ECBDA1634D}" type="sibTrans" cxnId="{61BAC568-CC15-4C04-89AA-E8CF74C04BF5}">
      <dgm:prSet/>
      <dgm:spPr/>
      <dgm:t>
        <a:bodyPr/>
        <a:lstStyle/>
        <a:p>
          <a:endParaRPr lang="en-US"/>
        </a:p>
      </dgm:t>
    </dgm:pt>
    <dgm:pt modelId="{F5C68074-EA30-44A9-AF46-DDE13D922C40}">
      <dgm:prSet phldrT="[Text]"/>
      <dgm:spPr/>
      <dgm:t>
        <a:bodyPr/>
        <a:lstStyle/>
        <a:p>
          <a:r>
            <a:rPr lang="sv-SE" dirty="0" smtClean="0"/>
            <a:t>E2E GSO</a:t>
          </a:r>
          <a:endParaRPr lang="en-US" dirty="0"/>
        </a:p>
      </dgm:t>
    </dgm:pt>
    <dgm:pt modelId="{3D5E2DD9-7F6E-447E-8E81-6BF1E1783E66}" type="parTrans" cxnId="{6D310F54-4987-4F44-9A79-6F7325E835AB}">
      <dgm:prSet/>
      <dgm:spPr/>
      <dgm:t>
        <a:bodyPr/>
        <a:lstStyle/>
        <a:p>
          <a:endParaRPr lang="en-US"/>
        </a:p>
      </dgm:t>
    </dgm:pt>
    <dgm:pt modelId="{6A5F35A2-589A-49FC-868A-85CAC0A0080E}" type="sibTrans" cxnId="{6D310F54-4987-4F44-9A79-6F7325E835AB}">
      <dgm:prSet/>
      <dgm:spPr/>
      <dgm:t>
        <a:bodyPr/>
        <a:lstStyle/>
        <a:p>
          <a:endParaRPr lang="en-US"/>
        </a:p>
      </dgm:t>
    </dgm:pt>
    <dgm:pt modelId="{D045C639-A8E4-49E7-8A66-870895188ECD}">
      <dgm:prSet phldrT="[Text]"/>
      <dgm:spPr/>
      <dgm:t>
        <a:bodyPr/>
        <a:lstStyle/>
        <a:p>
          <a:r>
            <a:rPr lang="sv-SE" dirty="0" smtClean="0"/>
            <a:t>E2E BLR</a:t>
          </a:r>
          <a:endParaRPr lang="en-US" dirty="0"/>
        </a:p>
      </dgm:t>
    </dgm:pt>
    <dgm:pt modelId="{7401457E-2208-4CA9-AE47-3349E204A270}" type="parTrans" cxnId="{FE944B2E-77D0-4312-8A6E-D7F33BA7931D}">
      <dgm:prSet/>
      <dgm:spPr/>
      <dgm:t>
        <a:bodyPr/>
        <a:lstStyle/>
        <a:p>
          <a:endParaRPr lang="en-US"/>
        </a:p>
      </dgm:t>
    </dgm:pt>
    <dgm:pt modelId="{49CC7694-41A8-4016-9AEB-CBBFDF44C022}" type="sibTrans" cxnId="{FE944B2E-77D0-4312-8A6E-D7F33BA7931D}">
      <dgm:prSet/>
      <dgm:spPr/>
      <dgm:t>
        <a:bodyPr/>
        <a:lstStyle/>
        <a:p>
          <a:endParaRPr lang="en-US"/>
        </a:p>
      </dgm:t>
    </dgm:pt>
    <dgm:pt modelId="{38AC217A-7F88-4C19-9087-2D26B3C690B2}">
      <dgm:prSet phldrT="[Text]"/>
      <dgm:spPr/>
      <dgm:t>
        <a:bodyPr/>
        <a:lstStyle/>
        <a:p>
          <a:r>
            <a:rPr lang="sv-SE" dirty="0" smtClean="0"/>
            <a:t>E2E AGEO</a:t>
          </a:r>
          <a:endParaRPr lang="en-US" dirty="0"/>
        </a:p>
      </dgm:t>
    </dgm:pt>
    <dgm:pt modelId="{4CA871F6-5CC4-44E4-B383-82790E15FBA2}" type="parTrans" cxnId="{2EC5BC0F-86E1-4C53-BD88-5906667F91A3}">
      <dgm:prSet/>
      <dgm:spPr/>
      <dgm:t>
        <a:bodyPr/>
        <a:lstStyle/>
        <a:p>
          <a:endParaRPr lang="en-US"/>
        </a:p>
      </dgm:t>
    </dgm:pt>
    <dgm:pt modelId="{84F936FD-D13F-463F-942C-7AFB392ED9D5}" type="sibTrans" cxnId="{2EC5BC0F-86E1-4C53-BD88-5906667F91A3}">
      <dgm:prSet/>
      <dgm:spPr/>
      <dgm:t>
        <a:bodyPr/>
        <a:lstStyle/>
        <a:p>
          <a:endParaRPr lang="en-US"/>
        </a:p>
      </dgm:t>
    </dgm:pt>
    <dgm:pt modelId="{A5090A4A-E084-4FC0-8435-CE8284471464}" type="asst">
      <dgm:prSet/>
      <dgm:spPr/>
      <dgm:t>
        <a:bodyPr/>
        <a:lstStyle/>
        <a:p>
          <a:r>
            <a:rPr lang="sv-SE" smtClean="0"/>
            <a:t>CM</a:t>
          </a:r>
          <a:endParaRPr lang="en-US" dirty="0"/>
        </a:p>
      </dgm:t>
    </dgm:pt>
    <dgm:pt modelId="{A80D9786-7A0B-4571-9375-F56B166A7886}" type="sibTrans" cxnId="{A42B7A18-1C4D-4C31-9BB5-A3354E07E812}">
      <dgm:prSet/>
      <dgm:spPr/>
      <dgm:t>
        <a:bodyPr/>
        <a:lstStyle/>
        <a:p>
          <a:endParaRPr lang="en-US"/>
        </a:p>
      </dgm:t>
    </dgm:pt>
    <dgm:pt modelId="{7ECA8189-C919-49CF-B970-64ED905CFFBA}" type="parTrans" cxnId="{A42B7A18-1C4D-4C31-9BB5-A3354E07E812}">
      <dgm:prSet/>
      <dgm:spPr/>
      <dgm:t>
        <a:bodyPr/>
        <a:lstStyle/>
        <a:p>
          <a:endParaRPr lang="en-US"/>
        </a:p>
      </dgm:t>
    </dgm:pt>
    <dgm:pt modelId="{BE865055-C6E4-442B-8DC3-B49BE720238C}">
      <dgm:prSet phldrT="[Text]"/>
      <dgm:spPr/>
      <dgm:t>
        <a:bodyPr/>
        <a:lstStyle/>
        <a:p>
          <a:r>
            <a:rPr lang="sv-SE" dirty="0" smtClean="0"/>
            <a:t>PF3 Altran</a:t>
          </a:r>
          <a:endParaRPr lang="en-US" dirty="0"/>
        </a:p>
      </dgm:t>
    </dgm:pt>
    <dgm:pt modelId="{61F8AEBE-9380-4EB3-8546-655A16F219CA}" type="parTrans" cxnId="{31C0B440-C8E1-464B-8DE6-E8A6B6C01218}">
      <dgm:prSet/>
      <dgm:spPr/>
      <dgm:t>
        <a:bodyPr/>
        <a:lstStyle/>
        <a:p>
          <a:endParaRPr lang="en-US"/>
        </a:p>
      </dgm:t>
    </dgm:pt>
    <dgm:pt modelId="{6DA38142-61F3-45D8-A2D3-11E77B8DC579}" type="sibTrans" cxnId="{31C0B440-C8E1-464B-8DE6-E8A6B6C01218}">
      <dgm:prSet/>
      <dgm:spPr/>
      <dgm:t>
        <a:bodyPr/>
        <a:lstStyle/>
        <a:p>
          <a:endParaRPr lang="en-US"/>
        </a:p>
      </dgm:t>
    </dgm:pt>
    <dgm:pt modelId="{7D369579-E8F1-4DAC-9025-170FDBE6B160}">
      <dgm:prSet phldrT="[Text]"/>
      <dgm:spPr/>
      <dgm:t>
        <a:bodyPr/>
        <a:lstStyle/>
        <a:p>
          <a:r>
            <a:rPr lang="en-US" dirty="0" smtClean="0"/>
            <a:t>Business App Altran</a:t>
          </a:r>
          <a:endParaRPr lang="en-US" dirty="0"/>
        </a:p>
      </dgm:t>
    </dgm:pt>
    <dgm:pt modelId="{105FDF6E-6D8D-4B2E-9715-02DD876CCE22}" type="parTrans" cxnId="{B762A950-4DAC-4A63-BB4B-030494D78607}">
      <dgm:prSet/>
      <dgm:spPr/>
      <dgm:t>
        <a:bodyPr/>
        <a:lstStyle/>
        <a:p>
          <a:endParaRPr lang="en-US"/>
        </a:p>
      </dgm:t>
    </dgm:pt>
    <dgm:pt modelId="{3418E6EF-CBE7-48DC-96E8-A2B790C14C62}" type="sibTrans" cxnId="{B762A950-4DAC-4A63-BB4B-030494D78607}">
      <dgm:prSet/>
      <dgm:spPr/>
      <dgm:t>
        <a:bodyPr/>
        <a:lstStyle/>
        <a:p>
          <a:endParaRPr lang="en-US"/>
        </a:p>
      </dgm:t>
    </dgm:pt>
    <dgm:pt modelId="{C7D91A8A-DC4A-4496-95E4-F8F92DC0034F}" type="pres">
      <dgm:prSet presAssocID="{B3CCDDC5-4909-47E0-BC02-AFD815B620AC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572E6940-EA9A-48C2-9F8C-BC5B770D9E07}" type="pres">
      <dgm:prSet presAssocID="{0A17149A-BDE1-4284-9941-8FF062408BB1}" presName="hierRoot1" presStyleCnt="0">
        <dgm:presLayoutVars>
          <dgm:hierBranch val="init"/>
        </dgm:presLayoutVars>
      </dgm:prSet>
      <dgm:spPr/>
    </dgm:pt>
    <dgm:pt modelId="{E2360DBE-DACA-4750-BEB5-942835A17086}" type="pres">
      <dgm:prSet presAssocID="{0A17149A-BDE1-4284-9941-8FF062408BB1}" presName="rootComposite1" presStyleCnt="0"/>
      <dgm:spPr/>
    </dgm:pt>
    <dgm:pt modelId="{B268BD8C-6918-47EB-8D8A-2A7DA23D2730}" type="pres">
      <dgm:prSet presAssocID="{0A17149A-BDE1-4284-9941-8FF062408BB1}" presName="rootText1" presStyleLbl="node0" presStyleIdx="0" presStyleCnt="1" custLinFactY="-9755" custLinFactNeighborX="7081" custLinFactNeighborY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759BD84-F323-409F-BE9B-FA8DFC8CA68D}" type="pres">
      <dgm:prSet presAssocID="{0A17149A-BDE1-4284-9941-8FF062408BB1}" presName="rootConnector1" presStyleLbl="node1" presStyleIdx="0" presStyleCnt="0"/>
      <dgm:spPr/>
      <dgm:t>
        <a:bodyPr/>
        <a:lstStyle/>
        <a:p>
          <a:endParaRPr lang="en-US"/>
        </a:p>
      </dgm:t>
    </dgm:pt>
    <dgm:pt modelId="{E559576B-71D5-4B91-8999-2C5B04ED1187}" type="pres">
      <dgm:prSet presAssocID="{0A17149A-BDE1-4284-9941-8FF062408BB1}" presName="hierChild2" presStyleCnt="0"/>
      <dgm:spPr/>
    </dgm:pt>
    <dgm:pt modelId="{CB441E20-5FCB-45E0-BE6B-61A9AC24D657}" type="pres">
      <dgm:prSet presAssocID="{AE8A8160-62E4-43A3-98D6-E881AD03328D}" presName="Name37" presStyleLbl="parChTrans1D2" presStyleIdx="0" presStyleCnt="10"/>
      <dgm:spPr/>
      <dgm:t>
        <a:bodyPr/>
        <a:lstStyle/>
        <a:p>
          <a:endParaRPr lang="en-US"/>
        </a:p>
      </dgm:t>
    </dgm:pt>
    <dgm:pt modelId="{D97E0508-72CC-4C43-9DDB-269263473430}" type="pres">
      <dgm:prSet presAssocID="{8E60670D-19C7-44E2-BB45-7E173A25A2C6}" presName="hierRoot2" presStyleCnt="0">
        <dgm:presLayoutVars>
          <dgm:hierBranch val="init"/>
        </dgm:presLayoutVars>
      </dgm:prSet>
      <dgm:spPr/>
    </dgm:pt>
    <dgm:pt modelId="{78993CEA-606D-44AE-B94A-F95C214BC683}" type="pres">
      <dgm:prSet presAssocID="{8E60670D-19C7-44E2-BB45-7E173A25A2C6}" presName="rootComposite" presStyleCnt="0"/>
      <dgm:spPr/>
    </dgm:pt>
    <dgm:pt modelId="{CC5CFFD3-BBA8-424B-B6F2-545745BE22AC}" type="pres">
      <dgm:prSet presAssocID="{8E60670D-19C7-44E2-BB45-7E173A25A2C6}" presName="rootText" presStyleLbl="node2" presStyleIdx="0" presStyleCnt="7" custLinFactNeighborY="-555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25A4434-3500-49C1-A73B-A418454A69FA}" type="pres">
      <dgm:prSet presAssocID="{8E60670D-19C7-44E2-BB45-7E173A25A2C6}" presName="rootConnector" presStyleLbl="node2" presStyleIdx="0" presStyleCnt="7"/>
      <dgm:spPr/>
      <dgm:t>
        <a:bodyPr/>
        <a:lstStyle/>
        <a:p>
          <a:endParaRPr lang="en-US"/>
        </a:p>
      </dgm:t>
    </dgm:pt>
    <dgm:pt modelId="{F0EB8288-B731-48BC-B474-4D54E6020336}" type="pres">
      <dgm:prSet presAssocID="{8E60670D-19C7-44E2-BB45-7E173A25A2C6}" presName="hierChild4" presStyleCnt="0"/>
      <dgm:spPr/>
    </dgm:pt>
    <dgm:pt modelId="{B6B7419B-C533-4D2D-B0DA-E8D94A73DA37}" type="pres">
      <dgm:prSet presAssocID="{41D64246-97E2-4769-B9FF-11D751146651}" presName="Name37" presStyleLbl="parChTrans1D3" presStyleIdx="0" presStyleCnt="15"/>
      <dgm:spPr/>
      <dgm:t>
        <a:bodyPr/>
        <a:lstStyle/>
        <a:p>
          <a:endParaRPr lang="en-US"/>
        </a:p>
      </dgm:t>
    </dgm:pt>
    <dgm:pt modelId="{CE3273DC-6512-4574-B710-DCD50BC96498}" type="pres">
      <dgm:prSet presAssocID="{8B30B3BE-3EAC-4515-B070-0DD3467581F1}" presName="hierRoot2" presStyleCnt="0">
        <dgm:presLayoutVars>
          <dgm:hierBranch val="init"/>
        </dgm:presLayoutVars>
      </dgm:prSet>
      <dgm:spPr/>
    </dgm:pt>
    <dgm:pt modelId="{BA9A266D-4E01-4BFC-BAAF-5C987B2E8EA8}" type="pres">
      <dgm:prSet presAssocID="{8B30B3BE-3EAC-4515-B070-0DD3467581F1}" presName="rootComposite" presStyleCnt="0"/>
      <dgm:spPr/>
    </dgm:pt>
    <dgm:pt modelId="{7D362B7C-B04D-4FA7-AD50-DEDC39DFCF44}" type="pres">
      <dgm:prSet presAssocID="{8B30B3BE-3EAC-4515-B070-0DD3467581F1}" presName="rootText" presStyleLbl="node3" presStyleIdx="0" presStyleCnt="15" custLinFactNeighborY="-555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D39D1B2-D072-4281-89EB-C9B641B931FD}" type="pres">
      <dgm:prSet presAssocID="{8B30B3BE-3EAC-4515-B070-0DD3467581F1}" presName="rootConnector" presStyleLbl="node3" presStyleIdx="0" presStyleCnt="15"/>
      <dgm:spPr/>
      <dgm:t>
        <a:bodyPr/>
        <a:lstStyle/>
        <a:p>
          <a:endParaRPr lang="en-US"/>
        </a:p>
      </dgm:t>
    </dgm:pt>
    <dgm:pt modelId="{A8FE7791-CE44-48CE-A797-50B74813C81F}" type="pres">
      <dgm:prSet presAssocID="{8B30B3BE-3EAC-4515-B070-0DD3467581F1}" presName="hierChild4" presStyleCnt="0"/>
      <dgm:spPr/>
    </dgm:pt>
    <dgm:pt modelId="{284505F0-C5CC-4815-A5A4-049A57D84556}" type="pres">
      <dgm:prSet presAssocID="{8B30B3BE-3EAC-4515-B070-0DD3467581F1}" presName="hierChild5" presStyleCnt="0"/>
      <dgm:spPr/>
    </dgm:pt>
    <dgm:pt modelId="{7AD24F01-22CB-4784-AF2B-628694E529B3}" type="pres">
      <dgm:prSet presAssocID="{3DC1A82A-AEFA-4A03-BDF2-DEFB6851DF41}" presName="Name37" presStyleLbl="parChTrans1D3" presStyleIdx="1" presStyleCnt="15"/>
      <dgm:spPr/>
      <dgm:t>
        <a:bodyPr/>
        <a:lstStyle/>
        <a:p>
          <a:endParaRPr lang="en-US"/>
        </a:p>
      </dgm:t>
    </dgm:pt>
    <dgm:pt modelId="{D3E07092-F27A-49E6-B41F-EC365A9FCA7C}" type="pres">
      <dgm:prSet presAssocID="{251A30D5-C345-4C54-ADC9-FBC7A231D8AA}" presName="hierRoot2" presStyleCnt="0">
        <dgm:presLayoutVars>
          <dgm:hierBranch val="init"/>
        </dgm:presLayoutVars>
      </dgm:prSet>
      <dgm:spPr/>
    </dgm:pt>
    <dgm:pt modelId="{4B408780-83E2-4D50-B8E9-A7A74468DE51}" type="pres">
      <dgm:prSet presAssocID="{251A30D5-C345-4C54-ADC9-FBC7A231D8AA}" presName="rootComposite" presStyleCnt="0"/>
      <dgm:spPr/>
    </dgm:pt>
    <dgm:pt modelId="{63096FD0-BA6F-4F81-9A9D-D49641AC8453}" type="pres">
      <dgm:prSet presAssocID="{251A30D5-C345-4C54-ADC9-FBC7A231D8AA}" presName="rootText" presStyleLbl="node3" presStyleIdx="1" presStyleCnt="15" custLinFactNeighborY="-555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F0E3622-1CA6-42CE-939D-3B04CB23BE67}" type="pres">
      <dgm:prSet presAssocID="{251A30D5-C345-4C54-ADC9-FBC7A231D8AA}" presName="rootConnector" presStyleLbl="node3" presStyleIdx="1" presStyleCnt="15"/>
      <dgm:spPr/>
      <dgm:t>
        <a:bodyPr/>
        <a:lstStyle/>
        <a:p>
          <a:endParaRPr lang="en-US"/>
        </a:p>
      </dgm:t>
    </dgm:pt>
    <dgm:pt modelId="{309B3929-5345-4E75-A345-9BEDA257FE5F}" type="pres">
      <dgm:prSet presAssocID="{251A30D5-C345-4C54-ADC9-FBC7A231D8AA}" presName="hierChild4" presStyleCnt="0"/>
      <dgm:spPr/>
    </dgm:pt>
    <dgm:pt modelId="{D3153C1A-7402-412D-9DE5-20ECF13A8EE1}" type="pres">
      <dgm:prSet presAssocID="{251A30D5-C345-4C54-ADC9-FBC7A231D8AA}" presName="hierChild5" presStyleCnt="0"/>
      <dgm:spPr/>
    </dgm:pt>
    <dgm:pt modelId="{FADAD001-C60B-433E-A58A-8B5F4A2A36D0}" type="pres">
      <dgm:prSet presAssocID="{61F8AEBE-9380-4EB3-8546-655A16F219CA}" presName="Name37" presStyleLbl="parChTrans1D3" presStyleIdx="2" presStyleCnt="15"/>
      <dgm:spPr/>
      <dgm:t>
        <a:bodyPr/>
        <a:lstStyle/>
        <a:p>
          <a:endParaRPr lang="en-US"/>
        </a:p>
      </dgm:t>
    </dgm:pt>
    <dgm:pt modelId="{D01AF605-4E55-4212-B5E1-D17A0CACE06F}" type="pres">
      <dgm:prSet presAssocID="{BE865055-C6E4-442B-8DC3-B49BE720238C}" presName="hierRoot2" presStyleCnt="0">
        <dgm:presLayoutVars>
          <dgm:hierBranch val="init"/>
        </dgm:presLayoutVars>
      </dgm:prSet>
      <dgm:spPr/>
    </dgm:pt>
    <dgm:pt modelId="{C4FB5A1F-FC51-4CD9-B579-87FFBF5F2DA2}" type="pres">
      <dgm:prSet presAssocID="{BE865055-C6E4-442B-8DC3-B49BE720238C}" presName="rootComposite" presStyleCnt="0"/>
      <dgm:spPr/>
    </dgm:pt>
    <dgm:pt modelId="{B2E77ECE-98CE-4A12-8844-5CA9CF7C10CE}" type="pres">
      <dgm:prSet presAssocID="{BE865055-C6E4-442B-8DC3-B49BE720238C}" presName="rootText" presStyleLbl="node3" presStyleIdx="2" presStyleCnt="1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AF05950-9536-4F0F-AE9F-ABB6B61CC0B2}" type="pres">
      <dgm:prSet presAssocID="{BE865055-C6E4-442B-8DC3-B49BE720238C}" presName="rootConnector" presStyleLbl="node3" presStyleIdx="2" presStyleCnt="15"/>
      <dgm:spPr/>
      <dgm:t>
        <a:bodyPr/>
        <a:lstStyle/>
        <a:p>
          <a:endParaRPr lang="en-US"/>
        </a:p>
      </dgm:t>
    </dgm:pt>
    <dgm:pt modelId="{F0B04913-31CB-40D8-8975-D82F335AC24E}" type="pres">
      <dgm:prSet presAssocID="{BE865055-C6E4-442B-8DC3-B49BE720238C}" presName="hierChild4" presStyleCnt="0"/>
      <dgm:spPr/>
    </dgm:pt>
    <dgm:pt modelId="{704B9F0C-2438-4FC6-8D5E-7E21A30702E2}" type="pres">
      <dgm:prSet presAssocID="{BE865055-C6E4-442B-8DC3-B49BE720238C}" presName="hierChild5" presStyleCnt="0"/>
      <dgm:spPr/>
    </dgm:pt>
    <dgm:pt modelId="{F479B63E-DBF7-494D-B0E1-DB48B8F84736}" type="pres">
      <dgm:prSet presAssocID="{8E60670D-19C7-44E2-BB45-7E173A25A2C6}" presName="hierChild5" presStyleCnt="0"/>
      <dgm:spPr/>
    </dgm:pt>
    <dgm:pt modelId="{B4DACFD2-55AF-48D2-A817-0621A1A13B01}" type="pres">
      <dgm:prSet presAssocID="{70D6EC45-B8D3-4965-AB81-305E099AD41F}" presName="Name37" presStyleLbl="parChTrans1D2" presStyleIdx="1" presStyleCnt="10"/>
      <dgm:spPr/>
      <dgm:t>
        <a:bodyPr/>
        <a:lstStyle/>
        <a:p>
          <a:endParaRPr lang="en-US"/>
        </a:p>
      </dgm:t>
    </dgm:pt>
    <dgm:pt modelId="{F65AB65C-5FDB-4552-848C-1646F4B505C9}" type="pres">
      <dgm:prSet presAssocID="{7D5D405A-D07C-419D-9CB5-93D17FA477AA}" presName="hierRoot2" presStyleCnt="0">
        <dgm:presLayoutVars>
          <dgm:hierBranch val="init"/>
        </dgm:presLayoutVars>
      </dgm:prSet>
      <dgm:spPr/>
    </dgm:pt>
    <dgm:pt modelId="{010A4167-17FB-4E6C-AA8D-1C9E474AE966}" type="pres">
      <dgm:prSet presAssocID="{7D5D405A-D07C-419D-9CB5-93D17FA477AA}" presName="rootComposite" presStyleCnt="0"/>
      <dgm:spPr/>
    </dgm:pt>
    <dgm:pt modelId="{7143D64A-20B5-4520-9002-42791575BF9C}" type="pres">
      <dgm:prSet presAssocID="{7D5D405A-D07C-419D-9CB5-93D17FA477AA}" presName="rootText" presStyleLbl="node2" presStyleIdx="1" presStyleCnt="7" custLinFactNeighborY="-555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ED8B27F-F709-47F9-ADCA-ABAA50914D63}" type="pres">
      <dgm:prSet presAssocID="{7D5D405A-D07C-419D-9CB5-93D17FA477AA}" presName="rootConnector" presStyleLbl="node2" presStyleIdx="1" presStyleCnt="7"/>
      <dgm:spPr/>
      <dgm:t>
        <a:bodyPr/>
        <a:lstStyle/>
        <a:p>
          <a:endParaRPr lang="en-US"/>
        </a:p>
      </dgm:t>
    </dgm:pt>
    <dgm:pt modelId="{520E4BA8-15FD-47B6-A22D-8D2646E02500}" type="pres">
      <dgm:prSet presAssocID="{7D5D405A-D07C-419D-9CB5-93D17FA477AA}" presName="hierChild4" presStyleCnt="0"/>
      <dgm:spPr/>
    </dgm:pt>
    <dgm:pt modelId="{F273CB01-3A93-4DBE-9E61-4178E03BD680}" type="pres">
      <dgm:prSet presAssocID="{95512099-6738-4F35-A0B4-E84B4A02509B}" presName="Name37" presStyleLbl="parChTrans1D3" presStyleIdx="3" presStyleCnt="15"/>
      <dgm:spPr/>
      <dgm:t>
        <a:bodyPr/>
        <a:lstStyle/>
        <a:p>
          <a:endParaRPr lang="en-US"/>
        </a:p>
      </dgm:t>
    </dgm:pt>
    <dgm:pt modelId="{2C9BDA88-893D-425A-992C-C4D48CB3ABE0}" type="pres">
      <dgm:prSet presAssocID="{9AD7289F-3A86-4C22-B6AF-DA006CD37DB4}" presName="hierRoot2" presStyleCnt="0">
        <dgm:presLayoutVars>
          <dgm:hierBranch val="init"/>
        </dgm:presLayoutVars>
      </dgm:prSet>
      <dgm:spPr/>
    </dgm:pt>
    <dgm:pt modelId="{2738560C-7D16-4CCE-9D68-ABF42FF0D8AC}" type="pres">
      <dgm:prSet presAssocID="{9AD7289F-3A86-4C22-B6AF-DA006CD37DB4}" presName="rootComposite" presStyleCnt="0"/>
      <dgm:spPr/>
    </dgm:pt>
    <dgm:pt modelId="{B5ED37E4-3A5D-4E7B-AE9B-46C76C00C2F8}" type="pres">
      <dgm:prSet presAssocID="{9AD7289F-3A86-4C22-B6AF-DA006CD37DB4}" presName="rootText" presStyleLbl="node3" presStyleIdx="3" presStyleCnt="15" custLinFactNeighborY="-555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4EFEFDB-83B6-4EE4-9727-8C9EB54E6895}" type="pres">
      <dgm:prSet presAssocID="{9AD7289F-3A86-4C22-B6AF-DA006CD37DB4}" presName="rootConnector" presStyleLbl="node3" presStyleIdx="3" presStyleCnt="15"/>
      <dgm:spPr/>
      <dgm:t>
        <a:bodyPr/>
        <a:lstStyle/>
        <a:p>
          <a:endParaRPr lang="en-US"/>
        </a:p>
      </dgm:t>
    </dgm:pt>
    <dgm:pt modelId="{ABC6EE89-2979-44DE-A254-BB53E9E57DF8}" type="pres">
      <dgm:prSet presAssocID="{9AD7289F-3A86-4C22-B6AF-DA006CD37DB4}" presName="hierChild4" presStyleCnt="0"/>
      <dgm:spPr/>
    </dgm:pt>
    <dgm:pt modelId="{126827AE-EDE8-4719-9720-40A8F81602BC}" type="pres">
      <dgm:prSet presAssocID="{9AD7289F-3A86-4C22-B6AF-DA006CD37DB4}" presName="hierChild5" presStyleCnt="0"/>
      <dgm:spPr/>
    </dgm:pt>
    <dgm:pt modelId="{D5AF3879-A87D-4192-9C36-46EEEF45406C}" type="pres">
      <dgm:prSet presAssocID="{F7621466-DB59-443F-8F75-55458EE41CAA}" presName="Name37" presStyleLbl="parChTrans1D3" presStyleIdx="4" presStyleCnt="15"/>
      <dgm:spPr/>
      <dgm:t>
        <a:bodyPr/>
        <a:lstStyle/>
        <a:p>
          <a:endParaRPr lang="en-US"/>
        </a:p>
      </dgm:t>
    </dgm:pt>
    <dgm:pt modelId="{D78F902D-9406-4605-A795-26C9B72DFC42}" type="pres">
      <dgm:prSet presAssocID="{DC751DE2-EEE2-403B-8AC6-0DDF5C1BDAF1}" presName="hierRoot2" presStyleCnt="0">
        <dgm:presLayoutVars>
          <dgm:hierBranch val="init"/>
        </dgm:presLayoutVars>
      </dgm:prSet>
      <dgm:spPr/>
    </dgm:pt>
    <dgm:pt modelId="{4B50AC3F-9E5B-4189-B1C9-8003A48BF1F5}" type="pres">
      <dgm:prSet presAssocID="{DC751DE2-EEE2-403B-8AC6-0DDF5C1BDAF1}" presName="rootComposite" presStyleCnt="0"/>
      <dgm:spPr/>
    </dgm:pt>
    <dgm:pt modelId="{D526CEEA-52F5-453F-871B-3D10BA029ED1}" type="pres">
      <dgm:prSet presAssocID="{DC751DE2-EEE2-403B-8AC6-0DDF5C1BDAF1}" presName="rootText" presStyleLbl="node3" presStyleIdx="4" presStyleCnt="15" custLinFactNeighborY="-555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1503EEC-7DDB-4508-87E3-276006808DAC}" type="pres">
      <dgm:prSet presAssocID="{DC751DE2-EEE2-403B-8AC6-0DDF5C1BDAF1}" presName="rootConnector" presStyleLbl="node3" presStyleIdx="4" presStyleCnt="15"/>
      <dgm:spPr/>
      <dgm:t>
        <a:bodyPr/>
        <a:lstStyle/>
        <a:p>
          <a:endParaRPr lang="en-US"/>
        </a:p>
      </dgm:t>
    </dgm:pt>
    <dgm:pt modelId="{DE9492C9-1229-45C7-97DD-3E7FF4AC51C1}" type="pres">
      <dgm:prSet presAssocID="{DC751DE2-EEE2-403B-8AC6-0DDF5C1BDAF1}" presName="hierChild4" presStyleCnt="0"/>
      <dgm:spPr/>
    </dgm:pt>
    <dgm:pt modelId="{C32CFF47-1E9F-4CB1-95EF-ED84C43294DD}" type="pres">
      <dgm:prSet presAssocID="{DC751DE2-EEE2-403B-8AC6-0DDF5C1BDAF1}" presName="hierChild5" presStyleCnt="0"/>
      <dgm:spPr/>
    </dgm:pt>
    <dgm:pt modelId="{1854BAC0-DB5F-485A-A2EB-1EFD0D865748}" type="pres">
      <dgm:prSet presAssocID="{652BA015-CEC6-44F8-96FA-ABA421DF5E83}" presName="Name37" presStyleLbl="parChTrans1D3" presStyleIdx="5" presStyleCnt="15"/>
      <dgm:spPr/>
      <dgm:t>
        <a:bodyPr/>
        <a:lstStyle/>
        <a:p>
          <a:endParaRPr lang="en-US"/>
        </a:p>
      </dgm:t>
    </dgm:pt>
    <dgm:pt modelId="{6A26D635-34A5-4D15-A70B-FB7B5E5DE1A5}" type="pres">
      <dgm:prSet presAssocID="{E9CA6E09-DAEA-4C27-A1A8-FB83BCFCD53F}" presName="hierRoot2" presStyleCnt="0">
        <dgm:presLayoutVars>
          <dgm:hierBranch val="init"/>
        </dgm:presLayoutVars>
      </dgm:prSet>
      <dgm:spPr/>
    </dgm:pt>
    <dgm:pt modelId="{4CF3DE49-3E6C-4E0A-BA1D-972D9D18202E}" type="pres">
      <dgm:prSet presAssocID="{E9CA6E09-DAEA-4C27-A1A8-FB83BCFCD53F}" presName="rootComposite" presStyleCnt="0"/>
      <dgm:spPr/>
    </dgm:pt>
    <dgm:pt modelId="{46371EB8-81C9-4691-9EA6-FA2A718C334B}" type="pres">
      <dgm:prSet presAssocID="{E9CA6E09-DAEA-4C27-A1A8-FB83BCFCD53F}" presName="rootText" presStyleLbl="node3" presStyleIdx="5" presStyleCnt="15" custLinFactNeighborY="91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5D14735-D4F8-45E2-AE2D-4B1F12136975}" type="pres">
      <dgm:prSet presAssocID="{E9CA6E09-DAEA-4C27-A1A8-FB83BCFCD53F}" presName="rootConnector" presStyleLbl="node3" presStyleIdx="5" presStyleCnt="15"/>
      <dgm:spPr/>
      <dgm:t>
        <a:bodyPr/>
        <a:lstStyle/>
        <a:p>
          <a:endParaRPr lang="en-US"/>
        </a:p>
      </dgm:t>
    </dgm:pt>
    <dgm:pt modelId="{7A7ADB5B-5108-4795-8D9E-DFB0F8C5A8AB}" type="pres">
      <dgm:prSet presAssocID="{E9CA6E09-DAEA-4C27-A1A8-FB83BCFCD53F}" presName="hierChild4" presStyleCnt="0"/>
      <dgm:spPr/>
    </dgm:pt>
    <dgm:pt modelId="{7D6B363F-3943-471C-9AD4-BB98A542CA93}" type="pres">
      <dgm:prSet presAssocID="{E9CA6E09-DAEA-4C27-A1A8-FB83BCFCD53F}" presName="hierChild5" presStyleCnt="0"/>
      <dgm:spPr/>
    </dgm:pt>
    <dgm:pt modelId="{7FEF1C79-51EF-4FDD-822E-999F25B76A4D}" type="pres">
      <dgm:prSet presAssocID="{DA524611-133F-499D-AD67-B1F246EFE6AD}" presName="Name37" presStyleLbl="parChTrans1D3" presStyleIdx="6" presStyleCnt="15"/>
      <dgm:spPr/>
      <dgm:t>
        <a:bodyPr/>
        <a:lstStyle/>
        <a:p>
          <a:endParaRPr lang="en-US"/>
        </a:p>
      </dgm:t>
    </dgm:pt>
    <dgm:pt modelId="{9252B6CE-340A-47A7-B439-650DDEB8F3E7}" type="pres">
      <dgm:prSet presAssocID="{F5929430-D625-460E-8CDB-4118D9439515}" presName="hierRoot2" presStyleCnt="0">
        <dgm:presLayoutVars>
          <dgm:hierBranch val="init"/>
        </dgm:presLayoutVars>
      </dgm:prSet>
      <dgm:spPr/>
    </dgm:pt>
    <dgm:pt modelId="{74AC7D77-C697-465F-A294-26FF3DED2BE6}" type="pres">
      <dgm:prSet presAssocID="{F5929430-D625-460E-8CDB-4118D9439515}" presName="rootComposite" presStyleCnt="0"/>
      <dgm:spPr/>
    </dgm:pt>
    <dgm:pt modelId="{97B49338-DAB2-4725-8474-5DCC22D3DE77}" type="pres">
      <dgm:prSet presAssocID="{F5929430-D625-460E-8CDB-4118D9439515}" presName="rootText" presStyleLbl="node3" presStyleIdx="6" presStyleCnt="1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9A0660B-98B3-4573-87C8-3049CB66FF97}" type="pres">
      <dgm:prSet presAssocID="{F5929430-D625-460E-8CDB-4118D9439515}" presName="rootConnector" presStyleLbl="node3" presStyleIdx="6" presStyleCnt="15"/>
      <dgm:spPr/>
      <dgm:t>
        <a:bodyPr/>
        <a:lstStyle/>
        <a:p>
          <a:endParaRPr lang="en-US"/>
        </a:p>
      </dgm:t>
    </dgm:pt>
    <dgm:pt modelId="{CD02FD94-9751-4897-AF46-E871081754FB}" type="pres">
      <dgm:prSet presAssocID="{F5929430-D625-460E-8CDB-4118D9439515}" presName="hierChild4" presStyleCnt="0"/>
      <dgm:spPr/>
    </dgm:pt>
    <dgm:pt modelId="{F589C421-ABAA-4323-AE39-3D410215B621}" type="pres">
      <dgm:prSet presAssocID="{F5929430-D625-460E-8CDB-4118D9439515}" presName="hierChild5" presStyleCnt="0"/>
      <dgm:spPr/>
    </dgm:pt>
    <dgm:pt modelId="{FAEE4DF3-3AA5-4D14-897C-EB746A93D899}" type="pres">
      <dgm:prSet presAssocID="{105FDF6E-6D8D-4B2E-9715-02DD876CCE22}" presName="Name37" presStyleLbl="parChTrans1D3" presStyleIdx="7" presStyleCnt="15"/>
      <dgm:spPr/>
      <dgm:t>
        <a:bodyPr/>
        <a:lstStyle/>
        <a:p>
          <a:endParaRPr lang="en-US"/>
        </a:p>
      </dgm:t>
    </dgm:pt>
    <dgm:pt modelId="{23BBD478-7122-48CA-BACA-C5093E73C78B}" type="pres">
      <dgm:prSet presAssocID="{7D369579-E8F1-4DAC-9025-170FDBE6B160}" presName="hierRoot2" presStyleCnt="0">
        <dgm:presLayoutVars>
          <dgm:hierBranch val="init"/>
        </dgm:presLayoutVars>
      </dgm:prSet>
      <dgm:spPr/>
    </dgm:pt>
    <dgm:pt modelId="{FE1A04D1-121D-4821-949B-A600E62232A9}" type="pres">
      <dgm:prSet presAssocID="{7D369579-E8F1-4DAC-9025-170FDBE6B160}" presName="rootComposite" presStyleCnt="0"/>
      <dgm:spPr/>
    </dgm:pt>
    <dgm:pt modelId="{5165E053-F522-45EF-BB1F-755E08198CE2}" type="pres">
      <dgm:prSet presAssocID="{7D369579-E8F1-4DAC-9025-170FDBE6B160}" presName="rootText" presStyleLbl="node3" presStyleIdx="7" presStyleCnt="1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F0804FD-2735-415C-9525-D07E6E241EBB}" type="pres">
      <dgm:prSet presAssocID="{7D369579-E8F1-4DAC-9025-170FDBE6B160}" presName="rootConnector" presStyleLbl="node3" presStyleIdx="7" presStyleCnt="15"/>
      <dgm:spPr/>
      <dgm:t>
        <a:bodyPr/>
        <a:lstStyle/>
        <a:p>
          <a:endParaRPr lang="en-US"/>
        </a:p>
      </dgm:t>
    </dgm:pt>
    <dgm:pt modelId="{32EE82A7-2861-48AF-A309-B6386B39FBAF}" type="pres">
      <dgm:prSet presAssocID="{7D369579-E8F1-4DAC-9025-170FDBE6B160}" presName="hierChild4" presStyleCnt="0"/>
      <dgm:spPr/>
    </dgm:pt>
    <dgm:pt modelId="{5982F003-A6F8-445B-9951-7E62FD565849}" type="pres">
      <dgm:prSet presAssocID="{7D369579-E8F1-4DAC-9025-170FDBE6B160}" presName="hierChild5" presStyleCnt="0"/>
      <dgm:spPr/>
    </dgm:pt>
    <dgm:pt modelId="{C5BA672A-DDD1-4658-B3C2-950ABADE7576}" type="pres">
      <dgm:prSet presAssocID="{7D5D405A-D07C-419D-9CB5-93D17FA477AA}" presName="hierChild5" presStyleCnt="0"/>
      <dgm:spPr/>
    </dgm:pt>
    <dgm:pt modelId="{FEC018BC-B209-4531-8432-870A44BC3580}" type="pres">
      <dgm:prSet presAssocID="{8B26C9A7-BF69-4AF4-9127-EDD0507AD3D9}" presName="Name37" presStyleLbl="parChTrans1D2" presStyleIdx="2" presStyleCnt="10"/>
      <dgm:spPr/>
      <dgm:t>
        <a:bodyPr/>
        <a:lstStyle/>
        <a:p>
          <a:endParaRPr lang="en-US"/>
        </a:p>
      </dgm:t>
    </dgm:pt>
    <dgm:pt modelId="{F85DC381-F62D-480E-9CBD-B9DACFA3AF9E}" type="pres">
      <dgm:prSet presAssocID="{C94B4EC2-240E-41F7-8CE6-1D77D9913EB9}" presName="hierRoot2" presStyleCnt="0">
        <dgm:presLayoutVars>
          <dgm:hierBranch val="init"/>
        </dgm:presLayoutVars>
      </dgm:prSet>
      <dgm:spPr/>
    </dgm:pt>
    <dgm:pt modelId="{21119ED2-454F-42DC-890C-95097E85EDEE}" type="pres">
      <dgm:prSet presAssocID="{C94B4EC2-240E-41F7-8CE6-1D77D9913EB9}" presName="rootComposite" presStyleCnt="0"/>
      <dgm:spPr/>
    </dgm:pt>
    <dgm:pt modelId="{4C9E9CF0-C1A2-4677-ABFE-5B62D894949B}" type="pres">
      <dgm:prSet presAssocID="{C94B4EC2-240E-41F7-8CE6-1D77D9913EB9}" presName="rootText" presStyleLbl="node2" presStyleIdx="2" presStyleCnt="7" custAng="0" custLinFactNeighborX="1176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7BF4637-970F-40BF-8F70-9379F09BB865}" type="pres">
      <dgm:prSet presAssocID="{C94B4EC2-240E-41F7-8CE6-1D77D9913EB9}" presName="rootConnector" presStyleLbl="node2" presStyleIdx="2" presStyleCnt="7"/>
      <dgm:spPr/>
      <dgm:t>
        <a:bodyPr/>
        <a:lstStyle/>
        <a:p>
          <a:endParaRPr lang="en-US"/>
        </a:p>
      </dgm:t>
    </dgm:pt>
    <dgm:pt modelId="{1F9C0943-24A9-4201-B89E-ECE0FBD199E7}" type="pres">
      <dgm:prSet presAssocID="{C94B4EC2-240E-41F7-8CE6-1D77D9913EB9}" presName="hierChild4" presStyleCnt="0"/>
      <dgm:spPr/>
    </dgm:pt>
    <dgm:pt modelId="{DD9276EB-35E6-428F-822C-A0706C441FDD}" type="pres">
      <dgm:prSet presAssocID="{218C4AA4-7B34-4F30-99DE-0D7F248A0057}" presName="Name37" presStyleLbl="parChTrans1D3" presStyleIdx="8" presStyleCnt="15"/>
      <dgm:spPr/>
      <dgm:t>
        <a:bodyPr/>
        <a:lstStyle/>
        <a:p>
          <a:endParaRPr lang="en-US"/>
        </a:p>
      </dgm:t>
    </dgm:pt>
    <dgm:pt modelId="{A52AEBCD-8D33-4E9B-A608-95B7E18BBAD1}" type="pres">
      <dgm:prSet presAssocID="{5F6C7A07-E594-44E0-B6E6-8CC2B7536E81}" presName="hierRoot2" presStyleCnt="0">
        <dgm:presLayoutVars>
          <dgm:hierBranch val="init"/>
        </dgm:presLayoutVars>
      </dgm:prSet>
      <dgm:spPr/>
    </dgm:pt>
    <dgm:pt modelId="{6C5FB3CE-79E7-45A5-9B18-A3B640FD9EC8}" type="pres">
      <dgm:prSet presAssocID="{5F6C7A07-E594-44E0-B6E6-8CC2B7536E81}" presName="rootComposite" presStyleCnt="0"/>
      <dgm:spPr/>
    </dgm:pt>
    <dgm:pt modelId="{95C50CF4-FF33-4A9F-A76B-DC2F66719C49}" type="pres">
      <dgm:prSet presAssocID="{5F6C7A07-E594-44E0-B6E6-8CC2B7536E81}" presName="rootText" presStyleLbl="node3" presStyleIdx="8" presStyleCnt="1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0A7395B-6C3A-420F-87BA-83798E69B448}" type="pres">
      <dgm:prSet presAssocID="{5F6C7A07-E594-44E0-B6E6-8CC2B7536E81}" presName="rootConnector" presStyleLbl="node3" presStyleIdx="8" presStyleCnt="15"/>
      <dgm:spPr/>
      <dgm:t>
        <a:bodyPr/>
        <a:lstStyle/>
        <a:p>
          <a:endParaRPr lang="en-US"/>
        </a:p>
      </dgm:t>
    </dgm:pt>
    <dgm:pt modelId="{C58435A9-9F8D-402A-A522-9C4074D596F1}" type="pres">
      <dgm:prSet presAssocID="{5F6C7A07-E594-44E0-B6E6-8CC2B7536E81}" presName="hierChild4" presStyleCnt="0"/>
      <dgm:spPr/>
    </dgm:pt>
    <dgm:pt modelId="{FC7BFEB3-4E1C-4D2D-AB4F-1E3E49C76ECF}" type="pres">
      <dgm:prSet presAssocID="{5F6C7A07-E594-44E0-B6E6-8CC2B7536E81}" presName="hierChild5" presStyleCnt="0"/>
      <dgm:spPr/>
    </dgm:pt>
    <dgm:pt modelId="{7BC96C94-B0EB-4C34-99B0-E85C87465976}" type="pres">
      <dgm:prSet presAssocID="{D40242F9-4172-41A3-B917-FE00BF62F19B}" presName="Name37" presStyleLbl="parChTrans1D3" presStyleIdx="9" presStyleCnt="15"/>
      <dgm:spPr/>
      <dgm:t>
        <a:bodyPr/>
        <a:lstStyle/>
        <a:p>
          <a:endParaRPr lang="en-US"/>
        </a:p>
      </dgm:t>
    </dgm:pt>
    <dgm:pt modelId="{68F7A841-39ED-4A0D-9E90-E8A5B608D915}" type="pres">
      <dgm:prSet presAssocID="{DFA8EEDC-A5AE-4A27-86CE-9B90ACEC6710}" presName="hierRoot2" presStyleCnt="0">
        <dgm:presLayoutVars>
          <dgm:hierBranch val="init"/>
        </dgm:presLayoutVars>
      </dgm:prSet>
      <dgm:spPr/>
    </dgm:pt>
    <dgm:pt modelId="{97298885-B39E-4AB5-85D3-36C61067043F}" type="pres">
      <dgm:prSet presAssocID="{DFA8EEDC-A5AE-4A27-86CE-9B90ACEC6710}" presName="rootComposite" presStyleCnt="0"/>
      <dgm:spPr/>
    </dgm:pt>
    <dgm:pt modelId="{B3AFDDA2-9CFE-4737-A07B-C137F2DC9FD1}" type="pres">
      <dgm:prSet presAssocID="{DFA8EEDC-A5AE-4A27-86CE-9B90ACEC6710}" presName="rootText" presStyleLbl="node3" presStyleIdx="9" presStyleCnt="1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E78B48F-C416-4044-9826-44CF628027F8}" type="pres">
      <dgm:prSet presAssocID="{DFA8EEDC-A5AE-4A27-86CE-9B90ACEC6710}" presName="rootConnector" presStyleLbl="node3" presStyleIdx="9" presStyleCnt="15"/>
      <dgm:spPr/>
      <dgm:t>
        <a:bodyPr/>
        <a:lstStyle/>
        <a:p>
          <a:endParaRPr lang="en-US"/>
        </a:p>
      </dgm:t>
    </dgm:pt>
    <dgm:pt modelId="{841828B8-6222-4B46-B89E-1FB2013B9E94}" type="pres">
      <dgm:prSet presAssocID="{DFA8EEDC-A5AE-4A27-86CE-9B90ACEC6710}" presName="hierChild4" presStyleCnt="0"/>
      <dgm:spPr/>
    </dgm:pt>
    <dgm:pt modelId="{C9B0A3C2-D113-4E28-B30F-B8F247E006A7}" type="pres">
      <dgm:prSet presAssocID="{DFA8EEDC-A5AE-4A27-86CE-9B90ACEC6710}" presName="hierChild5" presStyleCnt="0"/>
      <dgm:spPr/>
    </dgm:pt>
    <dgm:pt modelId="{6FAFA1A9-5631-4A84-A5E0-7666CBA3C3FB}" type="pres">
      <dgm:prSet presAssocID="{C94B4EC2-240E-41F7-8CE6-1D77D9913EB9}" presName="hierChild5" presStyleCnt="0"/>
      <dgm:spPr/>
    </dgm:pt>
    <dgm:pt modelId="{7C21AB10-9B54-4EC3-8533-92A149DF4DA3}" type="pres">
      <dgm:prSet presAssocID="{8F602ED1-58A9-447E-82CD-959FD1F18E12}" presName="Name37" presStyleLbl="parChTrans1D2" presStyleIdx="3" presStyleCnt="10"/>
      <dgm:spPr/>
      <dgm:t>
        <a:bodyPr/>
        <a:lstStyle/>
        <a:p>
          <a:endParaRPr lang="en-US"/>
        </a:p>
      </dgm:t>
    </dgm:pt>
    <dgm:pt modelId="{38041C86-8210-46EB-8653-8B3B62611E02}" type="pres">
      <dgm:prSet presAssocID="{EB69651D-28A8-4C92-8B26-8D0818BB9818}" presName="hierRoot2" presStyleCnt="0">
        <dgm:presLayoutVars>
          <dgm:hierBranch val="init"/>
        </dgm:presLayoutVars>
      </dgm:prSet>
      <dgm:spPr/>
    </dgm:pt>
    <dgm:pt modelId="{597F9205-C5EF-488A-8DA9-6674FC15E493}" type="pres">
      <dgm:prSet presAssocID="{EB69651D-28A8-4C92-8B26-8D0818BB9818}" presName="rootComposite" presStyleCnt="0"/>
      <dgm:spPr/>
    </dgm:pt>
    <dgm:pt modelId="{FB86FDD1-B6B3-47C6-B9E9-B4BE839F8E55}" type="pres">
      <dgm:prSet presAssocID="{EB69651D-28A8-4C92-8B26-8D0818BB9818}" presName="rootText" presStyleLbl="node2" presStyleIdx="3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CE2A2CE-F94A-4EF4-9B68-5D1E465D7580}" type="pres">
      <dgm:prSet presAssocID="{EB69651D-28A8-4C92-8B26-8D0818BB9818}" presName="rootConnector" presStyleLbl="node2" presStyleIdx="3" presStyleCnt="7"/>
      <dgm:spPr/>
      <dgm:t>
        <a:bodyPr/>
        <a:lstStyle/>
        <a:p>
          <a:endParaRPr lang="en-US"/>
        </a:p>
      </dgm:t>
    </dgm:pt>
    <dgm:pt modelId="{5E3FDB62-C8B0-4BA2-8622-319A35D6EECB}" type="pres">
      <dgm:prSet presAssocID="{EB69651D-28A8-4C92-8B26-8D0818BB9818}" presName="hierChild4" presStyleCnt="0"/>
      <dgm:spPr/>
    </dgm:pt>
    <dgm:pt modelId="{3BB7D4E8-4C37-4F2A-9C17-4EA9A436BB67}" type="pres">
      <dgm:prSet presAssocID="{74FD77A0-47CE-4E81-86F6-809E3E4B3A64}" presName="Name37" presStyleLbl="parChTrans1D3" presStyleIdx="10" presStyleCnt="15"/>
      <dgm:spPr/>
      <dgm:t>
        <a:bodyPr/>
        <a:lstStyle/>
        <a:p>
          <a:endParaRPr lang="en-US"/>
        </a:p>
      </dgm:t>
    </dgm:pt>
    <dgm:pt modelId="{2E3B2B89-0D76-4379-9F35-1408A7498596}" type="pres">
      <dgm:prSet presAssocID="{E0358827-B81C-4084-9BDE-BC78BC7D5692}" presName="hierRoot2" presStyleCnt="0">
        <dgm:presLayoutVars>
          <dgm:hierBranch val="init"/>
        </dgm:presLayoutVars>
      </dgm:prSet>
      <dgm:spPr/>
    </dgm:pt>
    <dgm:pt modelId="{E3F2C318-E88B-4F35-8CC8-03C7F96D90C2}" type="pres">
      <dgm:prSet presAssocID="{E0358827-B81C-4084-9BDE-BC78BC7D5692}" presName="rootComposite" presStyleCnt="0"/>
      <dgm:spPr/>
    </dgm:pt>
    <dgm:pt modelId="{3C41E94A-170F-4BD3-8CF4-A2A0AF817C4E}" type="pres">
      <dgm:prSet presAssocID="{E0358827-B81C-4084-9BDE-BC78BC7D5692}" presName="rootText" presStyleLbl="node3" presStyleIdx="10" presStyleCnt="1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1F27372-2769-43F8-BC70-49B3223C47AF}" type="pres">
      <dgm:prSet presAssocID="{E0358827-B81C-4084-9BDE-BC78BC7D5692}" presName="rootConnector" presStyleLbl="node3" presStyleIdx="10" presStyleCnt="15"/>
      <dgm:spPr/>
      <dgm:t>
        <a:bodyPr/>
        <a:lstStyle/>
        <a:p>
          <a:endParaRPr lang="en-US"/>
        </a:p>
      </dgm:t>
    </dgm:pt>
    <dgm:pt modelId="{EE48E245-39C7-412C-ABD0-C0549F972DD8}" type="pres">
      <dgm:prSet presAssocID="{E0358827-B81C-4084-9BDE-BC78BC7D5692}" presName="hierChild4" presStyleCnt="0"/>
      <dgm:spPr/>
    </dgm:pt>
    <dgm:pt modelId="{B8F1E7A8-1E7A-4E42-B865-EB43A60E344C}" type="pres">
      <dgm:prSet presAssocID="{E0358827-B81C-4084-9BDE-BC78BC7D5692}" presName="hierChild5" presStyleCnt="0"/>
      <dgm:spPr/>
    </dgm:pt>
    <dgm:pt modelId="{E351C686-F9C4-4A90-AEF1-5DD15143AEBA}" type="pres">
      <dgm:prSet presAssocID="{D5CE0C34-5FD0-4DB1-8714-1E6B7428A3F3}" presName="Name37" presStyleLbl="parChTrans1D3" presStyleIdx="11" presStyleCnt="15"/>
      <dgm:spPr/>
      <dgm:t>
        <a:bodyPr/>
        <a:lstStyle/>
        <a:p>
          <a:endParaRPr lang="en-US"/>
        </a:p>
      </dgm:t>
    </dgm:pt>
    <dgm:pt modelId="{BCE9F3B2-F045-4302-B73A-7D3B52ADCFA1}" type="pres">
      <dgm:prSet presAssocID="{6AF61506-9CEF-457E-8E9C-326BBAE91594}" presName="hierRoot2" presStyleCnt="0">
        <dgm:presLayoutVars>
          <dgm:hierBranch val="init"/>
        </dgm:presLayoutVars>
      </dgm:prSet>
      <dgm:spPr/>
    </dgm:pt>
    <dgm:pt modelId="{AA530DC9-BA60-4064-85D0-60EE59EC927A}" type="pres">
      <dgm:prSet presAssocID="{6AF61506-9CEF-457E-8E9C-326BBAE91594}" presName="rootComposite" presStyleCnt="0"/>
      <dgm:spPr/>
    </dgm:pt>
    <dgm:pt modelId="{440A4134-CFEC-4CDD-BC7B-79F5B7714652}" type="pres">
      <dgm:prSet presAssocID="{6AF61506-9CEF-457E-8E9C-326BBAE91594}" presName="rootText" presStyleLbl="node3" presStyleIdx="11" presStyleCnt="1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7E2C445-D482-489A-AF6E-7343BCB906D6}" type="pres">
      <dgm:prSet presAssocID="{6AF61506-9CEF-457E-8E9C-326BBAE91594}" presName="rootConnector" presStyleLbl="node3" presStyleIdx="11" presStyleCnt="15"/>
      <dgm:spPr/>
      <dgm:t>
        <a:bodyPr/>
        <a:lstStyle/>
        <a:p>
          <a:endParaRPr lang="en-US"/>
        </a:p>
      </dgm:t>
    </dgm:pt>
    <dgm:pt modelId="{421F2A54-2C83-4BE6-A5A4-EDDA818DE413}" type="pres">
      <dgm:prSet presAssocID="{6AF61506-9CEF-457E-8E9C-326BBAE91594}" presName="hierChild4" presStyleCnt="0"/>
      <dgm:spPr/>
    </dgm:pt>
    <dgm:pt modelId="{DF88777D-7774-4771-BA3F-2090EE2855A4}" type="pres">
      <dgm:prSet presAssocID="{6AF61506-9CEF-457E-8E9C-326BBAE91594}" presName="hierChild5" presStyleCnt="0"/>
      <dgm:spPr/>
    </dgm:pt>
    <dgm:pt modelId="{74323402-C73B-42EA-95EF-B09E2A02E212}" type="pres">
      <dgm:prSet presAssocID="{EB69651D-28A8-4C92-8B26-8D0818BB9818}" presName="hierChild5" presStyleCnt="0"/>
      <dgm:spPr/>
    </dgm:pt>
    <dgm:pt modelId="{17536D45-B3C6-46A3-A25F-8CDD5BBA939B}" type="pres">
      <dgm:prSet presAssocID="{3973610A-5B9C-49E6-A6D4-A3CBEE02E96B}" presName="Name37" presStyleLbl="parChTrans1D2" presStyleIdx="4" presStyleCnt="10"/>
      <dgm:spPr/>
      <dgm:t>
        <a:bodyPr/>
        <a:lstStyle/>
        <a:p>
          <a:endParaRPr lang="en-US"/>
        </a:p>
      </dgm:t>
    </dgm:pt>
    <dgm:pt modelId="{F25B2A85-49C3-4B23-864C-58EC489629F8}" type="pres">
      <dgm:prSet presAssocID="{11A46D18-5DD7-4127-A56C-7286804EE398}" presName="hierRoot2" presStyleCnt="0">
        <dgm:presLayoutVars>
          <dgm:hierBranch val="init"/>
        </dgm:presLayoutVars>
      </dgm:prSet>
      <dgm:spPr/>
    </dgm:pt>
    <dgm:pt modelId="{8D7A5C94-331A-4742-9913-9ED9628FB1DE}" type="pres">
      <dgm:prSet presAssocID="{11A46D18-5DD7-4127-A56C-7286804EE398}" presName="rootComposite" presStyleCnt="0"/>
      <dgm:spPr/>
    </dgm:pt>
    <dgm:pt modelId="{5865C308-333B-4634-8FBE-B9B69DBEE4F6}" type="pres">
      <dgm:prSet presAssocID="{11A46D18-5DD7-4127-A56C-7286804EE398}" presName="rootText" presStyleLbl="node2" presStyleIdx="4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7965BE6-598A-44BE-87FA-9F52CC57979C}" type="pres">
      <dgm:prSet presAssocID="{11A46D18-5DD7-4127-A56C-7286804EE398}" presName="rootConnector" presStyleLbl="node2" presStyleIdx="4" presStyleCnt="7"/>
      <dgm:spPr/>
      <dgm:t>
        <a:bodyPr/>
        <a:lstStyle/>
        <a:p>
          <a:endParaRPr lang="en-US"/>
        </a:p>
      </dgm:t>
    </dgm:pt>
    <dgm:pt modelId="{2E3A92CE-6A5B-4FCE-A513-0CCC2ED22309}" type="pres">
      <dgm:prSet presAssocID="{11A46D18-5DD7-4127-A56C-7286804EE398}" presName="hierChild4" presStyleCnt="0"/>
      <dgm:spPr/>
    </dgm:pt>
    <dgm:pt modelId="{97C3176E-84C3-4FEA-AF47-48F87BC7CD93}" type="pres">
      <dgm:prSet presAssocID="{3D5E2DD9-7F6E-447E-8E81-6BF1E1783E66}" presName="Name37" presStyleLbl="parChTrans1D3" presStyleIdx="12" presStyleCnt="15"/>
      <dgm:spPr/>
      <dgm:t>
        <a:bodyPr/>
        <a:lstStyle/>
        <a:p>
          <a:endParaRPr lang="en-US"/>
        </a:p>
      </dgm:t>
    </dgm:pt>
    <dgm:pt modelId="{D0E6148A-83FD-443D-87D9-675519172B78}" type="pres">
      <dgm:prSet presAssocID="{F5C68074-EA30-44A9-AF46-DDE13D922C40}" presName="hierRoot2" presStyleCnt="0">
        <dgm:presLayoutVars>
          <dgm:hierBranch val="init"/>
        </dgm:presLayoutVars>
      </dgm:prSet>
      <dgm:spPr/>
    </dgm:pt>
    <dgm:pt modelId="{80A83771-B436-4566-A56B-8D754F011917}" type="pres">
      <dgm:prSet presAssocID="{F5C68074-EA30-44A9-AF46-DDE13D922C40}" presName="rootComposite" presStyleCnt="0"/>
      <dgm:spPr/>
    </dgm:pt>
    <dgm:pt modelId="{05163EB1-B59B-4815-95FA-406D2336712B}" type="pres">
      <dgm:prSet presAssocID="{F5C68074-EA30-44A9-AF46-DDE13D922C40}" presName="rootText" presStyleLbl="node3" presStyleIdx="12" presStyleCnt="1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F204DF0-0050-4AB1-B1EC-3528AF99134F}" type="pres">
      <dgm:prSet presAssocID="{F5C68074-EA30-44A9-AF46-DDE13D922C40}" presName="rootConnector" presStyleLbl="node3" presStyleIdx="12" presStyleCnt="15"/>
      <dgm:spPr/>
      <dgm:t>
        <a:bodyPr/>
        <a:lstStyle/>
        <a:p>
          <a:endParaRPr lang="en-US"/>
        </a:p>
      </dgm:t>
    </dgm:pt>
    <dgm:pt modelId="{E7A0FE0B-77FC-4F01-9EFD-20B4AF5E9073}" type="pres">
      <dgm:prSet presAssocID="{F5C68074-EA30-44A9-AF46-DDE13D922C40}" presName="hierChild4" presStyleCnt="0"/>
      <dgm:spPr/>
    </dgm:pt>
    <dgm:pt modelId="{868651CE-B3C5-4900-8A31-ED2AC8A9CE16}" type="pres">
      <dgm:prSet presAssocID="{F5C68074-EA30-44A9-AF46-DDE13D922C40}" presName="hierChild5" presStyleCnt="0"/>
      <dgm:spPr/>
    </dgm:pt>
    <dgm:pt modelId="{EF673E2A-3640-499C-AA8A-7351D3FA3973}" type="pres">
      <dgm:prSet presAssocID="{11A46D18-5DD7-4127-A56C-7286804EE398}" presName="hierChild5" presStyleCnt="0"/>
      <dgm:spPr/>
    </dgm:pt>
    <dgm:pt modelId="{3EFA7296-F759-4618-B279-B9913DB24A50}" type="pres">
      <dgm:prSet presAssocID="{A4CF857B-D09C-4B39-977A-582FE8A719F8}" presName="Name37" presStyleLbl="parChTrans1D2" presStyleIdx="5" presStyleCnt="10"/>
      <dgm:spPr/>
      <dgm:t>
        <a:bodyPr/>
        <a:lstStyle/>
        <a:p>
          <a:endParaRPr lang="en-US"/>
        </a:p>
      </dgm:t>
    </dgm:pt>
    <dgm:pt modelId="{B583B18D-E9B4-49D5-B2A8-1122FA5916AD}" type="pres">
      <dgm:prSet presAssocID="{0B8F376A-64B7-4B15-B307-86E256470300}" presName="hierRoot2" presStyleCnt="0">
        <dgm:presLayoutVars>
          <dgm:hierBranch val="init"/>
        </dgm:presLayoutVars>
      </dgm:prSet>
      <dgm:spPr/>
    </dgm:pt>
    <dgm:pt modelId="{18460481-587C-4BC9-9289-8E2382B5C069}" type="pres">
      <dgm:prSet presAssocID="{0B8F376A-64B7-4B15-B307-86E256470300}" presName="rootComposite" presStyleCnt="0"/>
      <dgm:spPr/>
    </dgm:pt>
    <dgm:pt modelId="{FC8627F0-AFB6-4605-97E1-0F7FC2B2CB21}" type="pres">
      <dgm:prSet presAssocID="{0B8F376A-64B7-4B15-B307-86E256470300}" presName="rootText" presStyleLbl="node2" presStyleIdx="5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DFE77B0-4114-42BE-87B7-C67CCA74B889}" type="pres">
      <dgm:prSet presAssocID="{0B8F376A-64B7-4B15-B307-86E256470300}" presName="rootConnector" presStyleLbl="node2" presStyleIdx="5" presStyleCnt="7"/>
      <dgm:spPr/>
      <dgm:t>
        <a:bodyPr/>
        <a:lstStyle/>
        <a:p>
          <a:endParaRPr lang="en-US"/>
        </a:p>
      </dgm:t>
    </dgm:pt>
    <dgm:pt modelId="{B59C150F-E619-45AC-A10C-6E6809274110}" type="pres">
      <dgm:prSet presAssocID="{0B8F376A-64B7-4B15-B307-86E256470300}" presName="hierChild4" presStyleCnt="0"/>
      <dgm:spPr/>
    </dgm:pt>
    <dgm:pt modelId="{020CE435-A61F-4C42-8709-8B1794D2D0CF}" type="pres">
      <dgm:prSet presAssocID="{7401457E-2208-4CA9-AE47-3349E204A270}" presName="Name37" presStyleLbl="parChTrans1D3" presStyleIdx="13" presStyleCnt="15"/>
      <dgm:spPr/>
      <dgm:t>
        <a:bodyPr/>
        <a:lstStyle/>
        <a:p>
          <a:endParaRPr lang="en-US"/>
        </a:p>
      </dgm:t>
    </dgm:pt>
    <dgm:pt modelId="{F5D30293-E977-467C-BA58-CD95D3C4F419}" type="pres">
      <dgm:prSet presAssocID="{D045C639-A8E4-49E7-8A66-870895188ECD}" presName="hierRoot2" presStyleCnt="0">
        <dgm:presLayoutVars>
          <dgm:hierBranch val="init"/>
        </dgm:presLayoutVars>
      </dgm:prSet>
      <dgm:spPr/>
    </dgm:pt>
    <dgm:pt modelId="{60FB1168-9708-4F02-99F3-80C455CEE58E}" type="pres">
      <dgm:prSet presAssocID="{D045C639-A8E4-49E7-8A66-870895188ECD}" presName="rootComposite" presStyleCnt="0"/>
      <dgm:spPr/>
    </dgm:pt>
    <dgm:pt modelId="{027A3315-4B4D-4DC2-879B-12660FDE7619}" type="pres">
      <dgm:prSet presAssocID="{D045C639-A8E4-49E7-8A66-870895188ECD}" presName="rootText" presStyleLbl="node3" presStyleIdx="13" presStyleCnt="1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317F8B7-33A0-4E14-AE18-486A703F8373}" type="pres">
      <dgm:prSet presAssocID="{D045C639-A8E4-49E7-8A66-870895188ECD}" presName="rootConnector" presStyleLbl="node3" presStyleIdx="13" presStyleCnt="15"/>
      <dgm:spPr/>
      <dgm:t>
        <a:bodyPr/>
        <a:lstStyle/>
        <a:p>
          <a:endParaRPr lang="en-US"/>
        </a:p>
      </dgm:t>
    </dgm:pt>
    <dgm:pt modelId="{2B69BE16-A326-4596-B50E-FF0D4D236447}" type="pres">
      <dgm:prSet presAssocID="{D045C639-A8E4-49E7-8A66-870895188ECD}" presName="hierChild4" presStyleCnt="0"/>
      <dgm:spPr/>
    </dgm:pt>
    <dgm:pt modelId="{2882766B-D0DD-4589-89E7-5AD1E0A98AC1}" type="pres">
      <dgm:prSet presAssocID="{D045C639-A8E4-49E7-8A66-870895188ECD}" presName="hierChild5" presStyleCnt="0"/>
      <dgm:spPr/>
    </dgm:pt>
    <dgm:pt modelId="{070DD53F-6276-4938-8393-70F6E3B936BE}" type="pres">
      <dgm:prSet presAssocID="{0B8F376A-64B7-4B15-B307-86E256470300}" presName="hierChild5" presStyleCnt="0"/>
      <dgm:spPr/>
    </dgm:pt>
    <dgm:pt modelId="{87F05226-475E-44E2-A4D8-B10DF45DF306}" type="pres">
      <dgm:prSet presAssocID="{BA2E395F-F446-4130-A2FE-B77D316B16B6}" presName="Name37" presStyleLbl="parChTrans1D2" presStyleIdx="6" presStyleCnt="10"/>
      <dgm:spPr/>
      <dgm:t>
        <a:bodyPr/>
        <a:lstStyle/>
        <a:p>
          <a:endParaRPr lang="en-US"/>
        </a:p>
      </dgm:t>
    </dgm:pt>
    <dgm:pt modelId="{9AECD9DC-6ACF-484A-8820-E084C1E7487F}" type="pres">
      <dgm:prSet presAssocID="{1C8B0F15-A394-44E0-AB7C-F12F7C1F789A}" presName="hierRoot2" presStyleCnt="0">
        <dgm:presLayoutVars>
          <dgm:hierBranch val="init"/>
        </dgm:presLayoutVars>
      </dgm:prSet>
      <dgm:spPr/>
    </dgm:pt>
    <dgm:pt modelId="{077098BE-557D-4878-B0F6-3695FB064502}" type="pres">
      <dgm:prSet presAssocID="{1C8B0F15-A394-44E0-AB7C-F12F7C1F789A}" presName="rootComposite" presStyleCnt="0"/>
      <dgm:spPr/>
    </dgm:pt>
    <dgm:pt modelId="{F0FB213F-3C78-426C-982C-39F60FACED1D}" type="pres">
      <dgm:prSet presAssocID="{1C8B0F15-A394-44E0-AB7C-F12F7C1F789A}" presName="rootText" presStyleLbl="node2" presStyleIdx="6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B025839-41DC-4E29-8EFC-74DDB807FDF1}" type="pres">
      <dgm:prSet presAssocID="{1C8B0F15-A394-44E0-AB7C-F12F7C1F789A}" presName="rootConnector" presStyleLbl="node2" presStyleIdx="6" presStyleCnt="7"/>
      <dgm:spPr/>
      <dgm:t>
        <a:bodyPr/>
        <a:lstStyle/>
        <a:p>
          <a:endParaRPr lang="en-US"/>
        </a:p>
      </dgm:t>
    </dgm:pt>
    <dgm:pt modelId="{8C2F877F-B4E9-4807-A45D-528D727FEA9A}" type="pres">
      <dgm:prSet presAssocID="{1C8B0F15-A394-44E0-AB7C-F12F7C1F789A}" presName="hierChild4" presStyleCnt="0"/>
      <dgm:spPr/>
    </dgm:pt>
    <dgm:pt modelId="{545B3140-5C91-4781-8AA9-0EF824C61331}" type="pres">
      <dgm:prSet presAssocID="{4CA871F6-5CC4-44E4-B383-82790E15FBA2}" presName="Name37" presStyleLbl="parChTrans1D3" presStyleIdx="14" presStyleCnt="15"/>
      <dgm:spPr/>
      <dgm:t>
        <a:bodyPr/>
        <a:lstStyle/>
        <a:p>
          <a:endParaRPr lang="en-US"/>
        </a:p>
      </dgm:t>
    </dgm:pt>
    <dgm:pt modelId="{503728FA-5CE0-41F2-B5EF-D3CEA4F1F5A1}" type="pres">
      <dgm:prSet presAssocID="{38AC217A-7F88-4C19-9087-2D26B3C690B2}" presName="hierRoot2" presStyleCnt="0">
        <dgm:presLayoutVars>
          <dgm:hierBranch val="init"/>
        </dgm:presLayoutVars>
      </dgm:prSet>
      <dgm:spPr/>
    </dgm:pt>
    <dgm:pt modelId="{9B4F6C37-637C-4140-87D9-B7A79CB09D1D}" type="pres">
      <dgm:prSet presAssocID="{38AC217A-7F88-4C19-9087-2D26B3C690B2}" presName="rootComposite" presStyleCnt="0"/>
      <dgm:spPr/>
    </dgm:pt>
    <dgm:pt modelId="{6A9F2864-9B9D-4F04-98C4-0C292AD4F3E2}" type="pres">
      <dgm:prSet presAssocID="{38AC217A-7F88-4C19-9087-2D26B3C690B2}" presName="rootText" presStyleLbl="node3" presStyleIdx="14" presStyleCnt="1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B7E8BEB-F725-4435-9F30-1F4DAFF74D8E}" type="pres">
      <dgm:prSet presAssocID="{38AC217A-7F88-4C19-9087-2D26B3C690B2}" presName="rootConnector" presStyleLbl="node3" presStyleIdx="14" presStyleCnt="15"/>
      <dgm:spPr/>
      <dgm:t>
        <a:bodyPr/>
        <a:lstStyle/>
        <a:p>
          <a:endParaRPr lang="en-US"/>
        </a:p>
      </dgm:t>
    </dgm:pt>
    <dgm:pt modelId="{4E0BD934-842F-428E-B962-D8490FF91374}" type="pres">
      <dgm:prSet presAssocID="{38AC217A-7F88-4C19-9087-2D26B3C690B2}" presName="hierChild4" presStyleCnt="0"/>
      <dgm:spPr/>
    </dgm:pt>
    <dgm:pt modelId="{C23BA119-B815-4661-BE87-7F5FEDAFA573}" type="pres">
      <dgm:prSet presAssocID="{38AC217A-7F88-4C19-9087-2D26B3C690B2}" presName="hierChild5" presStyleCnt="0"/>
      <dgm:spPr/>
    </dgm:pt>
    <dgm:pt modelId="{3BB0F5B9-0B7B-42A1-94A8-EB49DA018E99}" type="pres">
      <dgm:prSet presAssocID="{1C8B0F15-A394-44E0-AB7C-F12F7C1F789A}" presName="hierChild5" presStyleCnt="0"/>
      <dgm:spPr/>
    </dgm:pt>
    <dgm:pt modelId="{C8CFFACC-7584-4612-B425-5F0CE9EC3460}" type="pres">
      <dgm:prSet presAssocID="{0A17149A-BDE1-4284-9941-8FF062408BB1}" presName="hierChild3" presStyleCnt="0"/>
      <dgm:spPr/>
    </dgm:pt>
    <dgm:pt modelId="{9E50E335-4330-44F2-95B4-76069E117162}" type="pres">
      <dgm:prSet presAssocID="{008D8F73-FDAB-4A4E-A926-0E4A462F13B9}" presName="Name111" presStyleLbl="parChTrans1D2" presStyleIdx="7" presStyleCnt="10"/>
      <dgm:spPr/>
      <dgm:t>
        <a:bodyPr/>
        <a:lstStyle/>
        <a:p>
          <a:endParaRPr lang="en-US"/>
        </a:p>
      </dgm:t>
    </dgm:pt>
    <dgm:pt modelId="{A39AF63D-5D62-40C3-959F-2CDEC36D037A}" type="pres">
      <dgm:prSet presAssocID="{2B6AF21B-B10A-46E8-B806-409F122241E6}" presName="hierRoot3" presStyleCnt="0">
        <dgm:presLayoutVars>
          <dgm:hierBranch val="init"/>
        </dgm:presLayoutVars>
      </dgm:prSet>
      <dgm:spPr/>
    </dgm:pt>
    <dgm:pt modelId="{D4979A5A-043F-4B66-BF99-3F696B50EB99}" type="pres">
      <dgm:prSet presAssocID="{2B6AF21B-B10A-46E8-B806-409F122241E6}" presName="rootComposite3" presStyleCnt="0"/>
      <dgm:spPr/>
    </dgm:pt>
    <dgm:pt modelId="{AD431767-0ECF-401B-9D90-E62A20B1B676}" type="pres">
      <dgm:prSet presAssocID="{2B6AF21B-B10A-46E8-B806-409F122241E6}" presName="rootText3" presStyleLbl="asst1" presStyleIdx="0" presStyleCnt="3" custLinFactNeighborY="-2812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9EF2FCF-440A-4319-B62E-DE6AC7D383FA}" type="pres">
      <dgm:prSet presAssocID="{2B6AF21B-B10A-46E8-B806-409F122241E6}" presName="rootConnector3" presStyleLbl="asst1" presStyleIdx="0" presStyleCnt="3"/>
      <dgm:spPr/>
      <dgm:t>
        <a:bodyPr/>
        <a:lstStyle/>
        <a:p>
          <a:endParaRPr lang="en-US"/>
        </a:p>
      </dgm:t>
    </dgm:pt>
    <dgm:pt modelId="{91929580-31BA-46A2-A13D-5C3B9D831939}" type="pres">
      <dgm:prSet presAssocID="{2B6AF21B-B10A-46E8-B806-409F122241E6}" presName="hierChild6" presStyleCnt="0"/>
      <dgm:spPr/>
    </dgm:pt>
    <dgm:pt modelId="{8AD61871-9DF8-4EE7-906B-D8AE701091ED}" type="pres">
      <dgm:prSet presAssocID="{2B6AF21B-B10A-46E8-B806-409F122241E6}" presName="hierChild7" presStyleCnt="0"/>
      <dgm:spPr/>
    </dgm:pt>
    <dgm:pt modelId="{AF3E47E0-0914-44FA-BDCA-0D1A286F2739}" type="pres">
      <dgm:prSet presAssocID="{EB6759A9-0BD6-42D4-8A90-3AB0FF7BAA85}" presName="Name111" presStyleLbl="parChTrans1D2" presStyleIdx="8" presStyleCnt="10"/>
      <dgm:spPr/>
      <dgm:t>
        <a:bodyPr/>
        <a:lstStyle/>
        <a:p>
          <a:endParaRPr lang="en-US"/>
        </a:p>
      </dgm:t>
    </dgm:pt>
    <dgm:pt modelId="{8560E76B-0420-4120-A476-CAAD4CAE9DD6}" type="pres">
      <dgm:prSet presAssocID="{B0BCCE85-F3C2-4CEE-9363-1FB9A5077B50}" presName="hierRoot3" presStyleCnt="0">
        <dgm:presLayoutVars>
          <dgm:hierBranch val="init"/>
        </dgm:presLayoutVars>
      </dgm:prSet>
      <dgm:spPr/>
    </dgm:pt>
    <dgm:pt modelId="{C1737F21-A765-440C-A79D-23F577F88401}" type="pres">
      <dgm:prSet presAssocID="{B0BCCE85-F3C2-4CEE-9363-1FB9A5077B50}" presName="rootComposite3" presStyleCnt="0"/>
      <dgm:spPr/>
    </dgm:pt>
    <dgm:pt modelId="{ADCD91CE-C780-40A2-9D3A-F8C691A7CFDF}" type="pres">
      <dgm:prSet presAssocID="{B0BCCE85-F3C2-4CEE-9363-1FB9A5077B50}" presName="rootText3" presStyleLbl="asst1" presStyleIdx="1" presStyleCnt="3" custLinFactX="-20628" custLinFactY="4850" custLinFactNeighborX="-10000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FB88FA2-254A-4252-AD3B-B8D721806D80}" type="pres">
      <dgm:prSet presAssocID="{B0BCCE85-F3C2-4CEE-9363-1FB9A5077B50}" presName="rootConnector3" presStyleLbl="asst1" presStyleIdx="1" presStyleCnt="3"/>
      <dgm:spPr/>
      <dgm:t>
        <a:bodyPr/>
        <a:lstStyle/>
        <a:p>
          <a:endParaRPr lang="en-US"/>
        </a:p>
      </dgm:t>
    </dgm:pt>
    <dgm:pt modelId="{9248D199-D21D-453D-AAFE-EDDF023E4F54}" type="pres">
      <dgm:prSet presAssocID="{B0BCCE85-F3C2-4CEE-9363-1FB9A5077B50}" presName="hierChild6" presStyleCnt="0"/>
      <dgm:spPr/>
    </dgm:pt>
    <dgm:pt modelId="{F56B0A6D-20B3-44EA-AC8A-34C9AAB17605}" type="pres">
      <dgm:prSet presAssocID="{B0BCCE85-F3C2-4CEE-9363-1FB9A5077B50}" presName="hierChild7" presStyleCnt="0"/>
      <dgm:spPr/>
    </dgm:pt>
    <dgm:pt modelId="{FAAE23C0-025D-41E6-8109-2340403CEAAE}" type="pres">
      <dgm:prSet presAssocID="{7ECA8189-C919-49CF-B970-64ED905CFFBA}" presName="Name111" presStyleLbl="parChTrans1D2" presStyleIdx="9" presStyleCnt="10"/>
      <dgm:spPr/>
      <dgm:t>
        <a:bodyPr/>
        <a:lstStyle/>
        <a:p>
          <a:endParaRPr lang="en-US"/>
        </a:p>
      </dgm:t>
    </dgm:pt>
    <dgm:pt modelId="{5FD9ECA9-8D5C-409F-94E1-16C54813728E}" type="pres">
      <dgm:prSet presAssocID="{A5090A4A-E084-4FC0-8435-CE8284471464}" presName="hierRoot3" presStyleCnt="0">
        <dgm:presLayoutVars>
          <dgm:hierBranch val="init"/>
        </dgm:presLayoutVars>
      </dgm:prSet>
      <dgm:spPr/>
    </dgm:pt>
    <dgm:pt modelId="{1A506E63-087F-4CD8-B812-EFC27FCE9CBB}" type="pres">
      <dgm:prSet presAssocID="{A5090A4A-E084-4FC0-8435-CE8284471464}" presName="rootComposite3" presStyleCnt="0"/>
      <dgm:spPr/>
    </dgm:pt>
    <dgm:pt modelId="{4D469C14-18CE-438E-B115-66456325B961}" type="pres">
      <dgm:prSet presAssocID="{A5090A4A-E084-4FC0-8435-CE8284471464}" presName="rootText3" presStyleLbl="asst1" presStyleIdx="2" presStyleCnt="3" custLinFactX="72919" custLinFactY="-58374" custLinFactNeighborX="100000" custLinFactNeighborY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BAA779A-7665-47C5-A75F-52130FCAC2BF}" type="pres">
      <dgm:prSet presAssocID="{A5090A4A-E084-4FC0-8435-CE8284471464}" presName="rootConnector3" presStyleLbl="asst1" presStyleIdx="2" presStyleCnt="3"/>
      <dgm:spPr/>
      <dgm:t>
        <a:bodyPr/>
        <a:lstStyle/>
        <a:p>
          <a:endParaRPr lang="en-US"/>
        </a:p>
      </dgm:t>
    </dgm:pt>
    <dgm:pt modelId="{420DE2C5-C33B-4D7E-A771-44FE430EBA65}" type="pres">
      <dgm:prSet presAssocID="{A5090A4A-E084-4FC0-8435-CE8284471464}" presName="hierChild6" presStyleCnt="0"/>
      <dgm:spPr/>
    </dgm:pt>
    <dgm:pt modelId="{EB30DE52-40B3-4E8C-89A5-BD3A5852AEAF}" type="pres">
      <dgm:prSet presAssocID="{A5090A4A-E084-4FC0-8435-CE8284471464}" presName="hierChild7" presStyleCnt="0"/>
      <dgm:spPr/>
    </dgm:pt>
  </dgm:ptLst>
  <dgm:cxnLst>
    <dgm:cxn modelId="{0EE04508-C4FA-49F4-84D9-C6989A8CCC92}" srcId="{7D5D405A-D07C-419D-9CB5-93D17FA477AA}" destId="{9AD7289F-3A86-4C22-B6AF-DA006CD37DB4}" srcOrd="0" destOrd="0" parTransId="{95512099-6738-4F35-A0B4-E84B4A02509B}" sibTransId="{1C4C17D4-798A-438E-AADA-2DECD4EEB921}"/>
    <dgm:cxn modelId="{55EE077B-C34F-42E6-A487-2C33C8EB0CEF}" type="presOf" srcId="{652BA015-CEC6-44F8-96FA-ABA421DF5E83}" destId="{1854BAC0-DB5F-485A-A2EB-1EFD0D865748}" srcOrd="0" destOrd="0" presId="urn:microsoft.com/office/officeart/2005/8/layout/orgChart1"/>
    <dgm:cxn modelId="{C1E1DE70-AF60-4DE5-BA22-3CE8C973EC6F}" srcId="{B3CCDDC5-4909-47E0-BC02-AFD815B620AC}" destId="{0A17149A-BDE1-4284-9941-8FF062408BB1}" srcOrd="0" destOrd="0" parTransId="{7C2A43D8-4609-4B34-A5A9-126A18AA03E9}" sibTransId="{E8FF5A6B-E57E-4C33-BD2F-1943EC98AB2C}"/>
    <dgm:cxn modelId="{B34E1E54-7A25-462D-ABC1-C6F402A9250C}" type="presOf" srcId="{AE8A8160-62E4-43A3-98D6-E881AD03328D}" destId="{CB441E20-5FCB-45E0-BE6B-61A9AC24D657}" srcOrd="0" destOrd="0" presId="urn:microsoft.com/office/officeart/2005/8/layout/orgChart1"/>
    <dgm:cxn modelId="{C3DF88AE-7128-4D16-818F-73B6F8C2174E}" type="presOf" srcId="{5F6C7A07-E594-44E0-B6E6-8CC2B7536E81}" destId="{70A7395B-6C3A-420F-87BA-83798E69B448}" srcOrd="1" destOrd="0" presId="urn:microsoft.com/office/officeart/2005/8/layout/orgChart1"/>
    <dgm:cxn modelId="{04F74DDB-899A-4599-9F48-32F5BE82C650}" type="presOf" srcId="{3973610A-5B9C-49E6-A6D4-A3CBEE02E96B}" destId="{17536D45-B3C6-46A3-A25F-8CDD5BBA939B}" srcOrd="0" destOrd="0" presId="urn:microsoft.com/office/officeart/2005/8/layout/orgChart1"/>
    <dgm:cxn modelId="{0F090C39-0FE0-43C6-84B2-6FD6CCA7991B}" srcId="{0A17149A-BDE1-4284-9941-8FF062408BB1}" destId="{2B6AF21B-B10A-46E8-B806-409F122241E6}" srcOrd="7" destOrd="0" parTransId="{008D8F73-FDAB-4A4E-A926-0E4A462F13B9}" sibTransId="{835F35FB-C2ED-475D-BD7C-06349801AE79}"/>
    <dgm:cxn modelId="{B762A950-4DAC-4A63-BB4B-030494D78607}" srcId="{7D5D405A-D07C-419D-9CB5-93D17FA477AA}" destId="{7D369579-E8F1-4DAC-9025-170FDBE6B160}" srcOrd="4" destOrd="0" parTransId="{105FDF6E-6D8D-4B2E-9715-02DD876CCE22}" sibTransId="{3418E6EF-CBE7-48DC-96E8-A2B790C14C62}"/>
    <dgm:cxn modelId="{926055CE-AA9A-4CE8-ABC9-19D1EBC86176}" type="presOf" srcId="{B0BCCE85-F3C2-4CEE-9363-1FB9A5077B50}" destId="{8FB88FA2-254A-4252-AD3B-B8D721806D80}" srcOrd="1" destOrd="0" presId="urn:microsoft.com/office/officeart/2005/8/layout/orgChart1"/>
    <dgm:cxn modelId="{6EF6741F-F453-4874-8024-08BD248760C0}" srcId="{0A17149A-BDE1-4284-9941-8FF062408BB1}" destId="{C94B4EC2-240E-41F7-8CE6-1D77D9913EB9}" srcOrd="2" destOrd="0" parTransId="{8B26C9A7-BF69-4AF4-9127-EDD0507AD3D9}" sibTransId="{98B83F1A-1524-43E6-A0D4-F1367ED25113}"/>
    <dgm:cxn modelId="{F4B682E4-E90A-4957-A61C-C020B66C12BE}" type="presOf" srcId="{6AF61506-9CEF-457E-8E9C-326BBAE91594}" destId="{27E2C445-D482-489A-AF6E-7343BCB906D6}" srcOrd="1" destOrd="0" presId="urn:microsoft.com/office/officeart/2005/8/layout/orgChart1"/>
    <dgm:cxn modelId="{D6E2ECDD-67CE-4A9E-8136-E5EC24141D4D}" srcId="{0A17149A-BDE1-4284-9941-8FF062408BB1}" destId="{EB69651D-28A8-4C92-8B26-8D0818BB9818}" srcOrd="3" destOrd="0" parTransId="{8F602ED1-58A9-447E-82CD-959FD1F18E12}" sibTransId="{C2CB07CA-5B42-4295-8F57-FACCA1350277}"/>
    <dgm:cxn modelId="{06AD6CA6-C760-4E7A-B04B-9CFFFCC636BB}" type="presOf" srcId="{251A30D5-C345-4C54-ADC9-FBC7A231D8AA}" destId="{63096FD0-BA6F-4F81-9A9D-D49641AC8453}" srcOrd="0" destOrd="0" presId="urn:microsoft.com/office/officeart/2005/8/layout/orgChart1"/>
    <dgm:cxn modelId="{FE944B2E-77D0-4312-8A6E-D7F33BA7931D}" srcId="{0B8F376A-64B7-4B15-B307-86E256470300}" destId="{D045C639-A8E4-49E7-8A66-870895188ECD}" srcOrd="0" destOrd="0" parTransId="{7401457E-2208-4CA9-AE47-3349E204A270}" sibTransId="{49CC7694-41A8-4016-9AEB-CBBFDF44C022}"/>
    <dgm:cxn modelId="{4AB906BD-2FD4-474C-B750-EAD6839EAD62}" srcId="{0A17149A-BDE1-4284-9941-8FF062408BB1}" destId="{8E60670D-19C7-44E2-BB45-7E173A25A2C6}" srcOrd="0" destOrd="0" parTransId="{AE8A8160-62E4-43A3-98D6-E881AD03328D}" sibTransId="{C541E498-7065-41A1-A557-B638B3AFF992}"/>
    <dgm:cxn modelId="{EE0AF903-C320-4E31-81DE-4DB5EB74B64D}" srcId="{0A17149A-BDE1-4284-9941-8FF062408BB1}" destId="{1C8B0F15-A394-44E0-AB7C-F12F7C1F789A}" srcOrd="6" destOrd="0" parTransId="{BA2E395F-F446-4130-A2FE-B77D316B16B6}" sibTransId="{85DFDB22-6D0F-44B0-8827-B5E049810AF8}"/>
    <dgm:cxn modelId="{87F2FD2F-930C-4787-9583-004057F9E351}" type="presOf" srcId="{251A30D5-C345-4C54-ADC9-FBC7A231D8AA}" destId="{4F0E3622-1CA6-42CE-939D-3B04CB23BE67}" srcOrd="1" destOrd="0" presId="urn:microsoft.com/office/officeart/2005/8/layout/orgChart1"/>
    <dgm:cxn modelId="{A64418EA-2651-4788-928F-AB2E4A0D14D9}" srcId="{C94B4EC2-240E-41F7-8CE6-1D77D9913EB9}" destId="{DFA8EEDC-A5AE-4A27-86CE-9B90ACEC6710}" srcOrd="1" destOrd="0" parTransId="{D40242F9-4172-41A3-B917-FE00BF62F19B}" sibTransId="{AC14EE20-1EBB-4BE3-BE20-A74EF0AC7A58}"/>
    <dgm:cxn modelId="{10B1F66B-98EE-4A90-B8B6-6B768FEF22A6}" type="presOf" srcId="{E0358827-B81C-4084-9BDE-BC78BC7D5692}" destId="{D1F27372-2769-43F8-BC70-49B3223C47AF}" srcOrd="1" destOrd="0" presId="urn:microsoft.com/office/officeart/2005/8/layout/orgChart1"/>
    <dgm:cxn modelId="{31C0B440-C8E1-464B-8DE6-E8A6B6C01218}" srcId="{8E60670D-19C7-44E2-BB45-7E173A25A2C6}" destId="{BE865055-C6E4-442B-8DC3-B49BE720238C}" srcOrd="2" destOrd="0" parTransId="{61F8AEBE-9380-4EB3-8546-655A16F219CA}" sibTransId="{6DA38142-61F3-45D8-A2D3-11E77B8DC579}"/>
    <dgm:cxn modelId="{0A33FB6D-1B17-400A-845A-6CC2D2195C11}" type="presOf" srcId="{8B30B3BE-3EAC-4515-B070-0DD3467581F1}" destId="{4D39D1B2-D072-4281-89EB-C9B641B931FD}" srcOrd="1" destOrd="0" presId="urn:microsoft.com/office/officeart/2005/8/layout/orgChart1"/>
    <dgm:cxn modelId="{4F2F91CC-504F-418C-96B7-D9502B783B2B}" type="presOf" srcId="{7D369579-E8F1-4DAC-9025-170FDBE6B160}" destId="{7F0804FD-2735-415C-9525-D07E6E241EBB}" srcOrd="1" destOrd="0" presId="urn:microsoft.com/office/officeart/2005/8/layout/orgChart1"/>
    <dgm:cxn modelId="{45A880FE-7A51-45DE-A4B6-8000457944D7}" type="presOf" srcId="{0B8F376A-64B7-4B15-B307-86E256470300}" destId="{0DFE77B0-4114-42BE-87B7-C67CCA74B889}" srcOrd="1" destOrd="0" presId="urn:microsoft.com/office/officeart/2005/8/layout/orgChart1"/>
    <dgm:cxn modelId="{B568249B-544B-49FB-9D0E-7CC14EDFE2DF}" type="presOf" srcId="{11A46D18-5DD7-4127-A56C-7286804EE398}" destId="{5865C308-333B-4634-8FBE-B9B69DBEE4F6}" srcOrd="0" destOrd="0" presId="urn:microsoft.com/office/officeart/2005/8/layout/orgChart1"/>
    <dgm:cxn modelId="{C6F28E40-8BC4-4701-A9EE-59F09FF0FE66}" type="presOf" srcId="{F5C68074-EA30-44A9-AF46-DDE13D922C40}" destId="{05163EB1-B59B-4815-95FA-406D2336712B}" srcOrd="0" destOrd="0" presId="urn:microsoft.com/office/officeart/2005/8/layout/orgChart1"/>
    <dgm:cxn modelId="{6A9FA8BF-63FC-42B5-97FA-4520B523246E}" type="presOf" srcId="{8F602ED1-58A9-447E-82CD-959FD1F18E12}" destId="{7C21AB10-9B54-4EC3-8533-92A149DF4DA3}" srcOrd="0" destOrd="0" presId="urn:microsoft.com/office/officeart/2005/8/layout/orgChart1"/>
    <dgm:cxn modelId="{A779A1A4-EFD4-4A91-BC47-1955B2BC1C9F}" type="presOf" srcId="{218C4AA4-7B34-4F30-99DE-0D7F248A0057}" destId="{DD9276EB-35E6-428F-822C-A0706C441FDD}" srcOrd="0" destOrd="0" presId="urn:microsoft.com/office/officeart/2005/8/layout/orgChart1"/>
    <dgm:cxn modelId="{0D6FD16F-C3EF-4CAB-98D9-2AD929752CDC}" type="presOf" srcId="{38AC217A-7F88-4C19-9087-2D26B3C690B2}" destId="{6A9F2864-9B9D-4F04-98C4-0C292AD4F3E2}" srcOrd="0" destOrd="0" presId="urn:microsoft.com/office/officeart/2005/8/layout/orgChart1"/>
    <dgm:cxn modelId="{CDF58F60-AFBF-4FBB-80D8-681C5FB7B0C0}" type="presOf" srcId="{DFA8EEDC-A5AE-4A27-86CE-9B90ACEC6710}" destId="{4E78B48F-C416-4044-9826-44CF628027F8}" srcOrd="1" destOrd="0" presId="urn:microsoft.com/office/officeart/2005/8/layout/orgChart1"/>
    <dgm:cxn modelId="{D8E8B5DD-DCA9-4A5A-84D8-59BB40C1EE8C}" type="presOf" srcId="{95512099-6738-4F35-A0B4-E84B4A02509B}" destId="{F273CB01-3A93-4DBE-9E61-4178E03BD680}" srcOrd="0" destOrd="0" presId="urn:microsoft.com/office/officeart/2005/8/layout/orgChart1"/>
    <dgm:cxn modelId="{9E096B83-B92D-4909-989E-DD1C554A6771}" type="presOf" srcId="{E9CA6E09-DAEA-4C27-A1A8-FB83BCFCD53F}" destId="{F5D14735-D4F8-45E2-AE2D-4B1F12136975}" srcOrd="1" destOrd="0" presId="urn:microsoft.com/office/officeart/2005/8/layout/orgChart1"/>
    <dgm:cxn modelId="{B86835DB-2054-4404-8CC0-46FBEE219FDB}" type="presOf" srcId="{9AD7289F-3A86-4C22-B6AF-DA006CD37DB4}" destId="{E4EFEFDB-83B6-4EE4-9727-8C9EB54E6895}" srcOrd="1" destOrd="0" presId="urn:microsoft.com/office/officeart/2005/8/layout/orgChart1"/>
    <dgm:cxn modelId="{6091B5DD-DBF2-4792-AA82-20D1F210F8EB}" type="presOf" srcId="{105FDF6E-6D8D-4B2E-9715-02DD876CCE22}" destId="{FAEE4DF3-3AA5-4D14-897C-EB746A93D899}" srcOrd="0" destOrd="0" presId="urn:microsoft.com/office/officeart/2005/8/layout/orgChart1"/>
    <dgm:cxn modelId="{66B8CFF2-967C-484E-AE24-6914535F292D}" type="presOf" srcId="{7D369579-E8F1-4DAC-9025-170FDBE6B160}" destId="{5165E053-F522-45EF-BB1F-755E08198CE2}" srcOrd="0" destOrd="0" presId="urn:microsoft.com/office/officeart/2005/8/layout/orgChart1"/>
    <dgm:cxn modelId="{DC2F6C87-75DE-404A-B238-FF8EE7CB2726}" type="presOf" srcId="{A5090A4A-E084-4FC0-8435-CE8284471464}" destId="{EBAA779A-7665-47C5-A75F-52130FCAC2BF}" srcOrd="1" destOrd="0" presId="urn:microsoft.com/office/officeart/2005/8/layout/orgChart1"/>
    <dgm:cxn modelId="{D6899386-C1EC-4B61-85A7-093446968124}" type="presOf" srcId="{5F6C7A07-E594-44E0-B6E6-8CC2B7536E81}" destId="{95C50CF4-FF33-4A9F-A76B-DC2F66719C49}" srcOrd="0" destOrd="0" presId="urn:microsoft.com/office/officeart/2005/8/layout/orgChart1"/>
    <dgm:cxn modelId="{31737CAD-39AF-4CFB-A58E-34F48589F057}" type="presOf" srcId="{6AF61506-9CEF-457E-8E9C-326BBAE91594}" destId="{440A4134-CFEC-4CDD-BC7B-79F5B7714652}" srcOrd="0" destOrd="0" presId="urn:microsoft.com/office/officeart/2005/8/layout/orgChart1"/>
    <dgm:cxn modelId="{ACCA2C67-FB66-418B-BCB1-400B103062B8}" type="presOf" srcId="{A4CF857B-D09C-4B39-977A-582FE8A719F8}" destId="{3EFA7296-F759-4618-B279-B9913DB24A50}" srcOrd="0" destOrd="0" presId="urn:microsoft.com/office/officeart/2005/8/layout/orgChart1"/>
    <dgm:cxn modelId="{0CDC65B9-2145-43B3-BBFA-2D747A7B19CD}" type="presOf" srcId="{D045C639-A8E4-49E7-8A66-870895188ECD}" destId="{027A3315-4B4D-4DC2-879B-12660FDE7619}" srcOrd="0" destOrd="0" presId="urn:microsoft.com/office/officeart/2005/8/layout/orgChart1"/>
    <dgm:cxn modelId="{D3783DCA-3AC6-41F4-A6F8-B6F2ABCBC2DC}" type="presOf" srcId="{F5929430-D625-460E-8CDB-4118D9439515}" destId="{E9A0660B-98B3-4573-87C8-3049CB66FF97}" srcOrd="1" destOrd="0" presId="urn:microsoft.com/office/officeart/2005/8/layout/orgChart1"/>
    <dgm:cxn modelId="{E1150AB4-2B90-4D22-A8C5-BD01195EEA70}" type="presOf" srcId="{EB69651D-28A8-4C92-8B26-8D0818BB9818}" destId="{DCE2A2CE-F94A-4EF4-9B68-5D1E465D7580}" srcOrd="1" destOrd="0" presId="urn:microsoft.com/office/officeart/2005/8/layout/orgChart1"/>
    <dgm:cxn modelId="{2EE27060-6ABB-4475-AB63-AC73E347F44B}" type="presOf" srcId="{1C8B0F15-A394-44E0-AB7C-F12F7C1F789A}" destId="{F0FB213F-3C78-426C-982C-39F60FACED1D}" srcOrd="0" destOrd="0" presId="urn:microsoft.com/office/officeart/2005/8/layout/orgChart1"/>
    <dgm:cxn modelId="{AAC8E221-7642-442E-813E-D7E85BF97E99}" type="presOf" srcId="{E9CA6E09-DAEA-4C27-A1A8-FB83BCFCD53F}" destId="{46371EB8-81C9-4691-9EA6-FA2A718C334B}" srcOrd="0" destOrd="0" presId="urn:microsoft.com/office/officeart/2005/8/layout/orgChart1"/>
    <dgm:cxn modelId="{0B0F9153-F192-429A-9513-24C360CF191D}" type="presOf" srcId="{3DC1A82A-AEFA-4A03-BDF2-DEFB6851DF41}" destId="{7AD24F01-22CB-4784-AF2B-628694E529B3}" srcOrd="0" destOrd="0" presId="urn:microsoft.com/office/officeart/2005/8/layout/orgChart1"/>
    <dgm:cxn modelId="{B8A72E6F-C7EB-4F96-94BC-B636F34F76AB}" srcId="{0A17149A-BDE1-4284-9941-8FF062408BB1}" destId="{0B8F376A-64B7-4B15-B307-86E256470300}" srcOrd="5" destOrd="0" parTransId="{A4CF857B-D09C-4B39-977A-582FE8A719F8}" sibTransId="{39F595BD-BC47-4B40-848B-C4FDB691D1BF}"/>
    <dgm:cxn modelId="{A3614D3D-F63A-4909-8CFF-B22989E6549C}" srcId="{7D5D405A-D07C-419D-9CB5-93D17FA477AA}" destId="{E9CA6E09-DAEA-4C27-A1A8-FB83BCFCD53F}" srcOrd="2" destOrd="0" parTransId="{652BA015-CEC6-44F8-96FA-ABA421DF5E83}" sibTransId="{8EF6A9FB-B75B-41A8-8969-B35631004E15}"/>
    <dgm:cxn modelId="{934DFEC4-F746-4996-ACBB-D830B11BB0C3}" type="presOf" srcId="{C94B4EC2-240E-41F7-8CE6-1D77D9913EB9}" destId="{C7BF4637-970F-40BF-8F70-9379F09BB865}" srcOrd="1" destOrd="0" presId="urn:microsoft.com/office/officeart/2005/8/layout/orgChart1"/>
    <dgm:cxn modelId="{E2C8AA62-16EF-40A4-847F-B52A994808C9}" srcId="{C94B4EC2-240E-41F7-8CE6-1D77D9913EB9}" destId="{5F6C7A07-E594-44E0-B6E6-8CC2B7536E81}" srcOrd="0" destOrd="0" parTransId="{218C4AA4-7B34-4F30-99DE-0D7F248A0057}" sibTransId="{D6457C9A-0519-4E0F-A9BB-98D6F159045B}"/>
    <dgm:cxn modelId="{2E68CC8D-D3E6-48CD-A436-611D15D01734}" type="presOf" srcId="{DC751DE2-EEE2-403B-8AC6-0DDF5C1BDAF1}" destId="{D526CEEA-52F5-453F-871B-3D10BA029ED1}" srcOrd="0" destOrd="0" presId="urn:microsoft.com/office/officeart/2005/8/layout/orgChart1"/>
    <dgm:cxn modelId="{6C0431A2-3CAB-432D-AE20-E6AE2AFBC82E}" type="presOf" srcId="{70D6EC45-B8D3-4965-AB81-305E099AD41F}" destId="{B4DACFD2-55AF-48D2-A817-0621A1A13B01}" srcOrd="0" destOrd="0" presId="urn:microsoft.com/office/officeart/2005/8/layout/orgChart1"/>
    <dgm:cxn modelId="{0F5390F0-6431-4CA9-9160-C1D4564E6F60}" type="presOf" srcId="{BE865055-C6E4-442B-8DC3-B49BE720238C}" destId="{B2E77ECE-98CE-4A12-8844-5CA9CF7C10CE}" srcOrd="0" destOrd="0" presId="urn:microsoft.com/office/officeart/2005/8/layout/orgChart1"/>
    <dgm:cxn modelId="{342A0E85-8252-4CF4-B9CC-35DE13D15FD9}" srcId="{EB69651D-28A8-4C92-8B26-8D0818BB9818}" destId="{6AF61506-9CEF-457E-8E9C-326BBAE91594}" srcOrd="1" destOrd="0" parTransId="{D5CE0C34-5FD0-4DB1-8714-1E6B7428A3F3}" sibTransId="{1B42FB78-0FCE-4A93-B9ED-CFDCD54FD495}"/>
    <dgm:cxn modelId="{537A8589-1816-4F3E-953C-AB08165D0491}" type="presOf" srcId="{BE865055-C6E4-442B-8DC3-B49BE720238C}" destId="{7AF05950-9536-4F0F-AE9F-ABB6B61CC0B2}" srcOrd="1" destOrd="0" presId="urn:microsoft.com/office/officeart/2005/8/layout/orgChart1"/>
    <dgm:cxn modelId="{6C804E41-A9CF-4FCF-85C8-AF8DB32FE30B}" type="presOf" srcId="{8B26C9A7-BF69-4AF4-9127-EDD0507AD3D9}" destId="{FEC018BC-B209-4531-8432-870A44BC3580}" srcOrd="0" destOrd="0" presId="urn:microsoft.com/office/officeart/2005/8/layout/orgChart1"/>
    <dgm:cxn modelId="{D6CC75EE-2275-46A4-ADD7-470798A904F4}" type="presOf" srcId="{F5C68074-EA30-44A9-AF46-DDE13D922C40}" destId="{6F204DF0-0050-4AB1-B1EC-3528AF99134F}" srcOrd="1" destOrd="0" presId="urn:microsoft.com/office/officeart/2005/8/layout/orgChart1"/>
    <dgm:cxn modelId="{39D0B40D-CEAD-4841-B385-85FAE36A9390}" type="presOf" srcId="{D045C639-A8E4-49E7-8A66-870895188ECD}" destId="{9317F8B7-33A0-4E14-AE18-486A703F8373}" srcOrd="1" destOrd="0" presId="urn:microsoft.com/office/officeart/2005/8/layout/orgChart1"/>
    <dgm:cxn modelId="{BCD471CE-927E-46B0-80D8-CF9A59A56210}" type="presOf" srcId="{BA2E395F-F446-4130-A2FE-B77D316B16B6}" destId="{87F05226-475E-44E2-A4D8-B10DF45DF306}" srcOrd="0" destOrd="0" presId="urn:microsoft.com/office/officeart/2005/8/layout/orgChart1"/>
    <dgm:cxn modelId="{A1168025-7227-4EB1-9F10-9DE017CACB8A}" type="presOf" srcId="{DC751DE2-EEE2-403B-8AC6-0DDF5C1BDAF1}" destId="{E1503EEC-7DDB-4508-87E3-276006808DAC}" srcOrd="1" destOrd="0" presId="urn:microsoft.com/office/officeart/2005/8/layout/orgChart1"/>
    <dgm:cxn modelId="{9570800A-722A-4B49-BCB1-BD0D44758CB3}" type="presOf" srcId="{EB69651D-28A8-4C92-8B26-8D0818BB9818}" destId="{FB86FDD1-B6B3-47C6-B9E9-B4BE839F8E55}" srcOrd="0" destOrd="0" presId="urn:microsoft.com/office/officeart/2005/8/layout/orgChart1"/>
    <dgm:cxn modelId="{5A9F087D-5DE6-4487-A61F-DBB0CBE8163D}" type="presOf" srcId="{7D5D405A-D07C-419D-9CB5-93D17FA477AA}" destId="{7143D64A-20B5-4520-9002-42791575BF9C}" srcOrd="0" destOrd="0" presId="urn:microsoft.com/office/officeart/2005/8/layout/orgChart1"/>
    <dgm:cxn modelId="{2BF7412E-A02E-4E62-A5A1-5C61899F87DB}" type="presOf" srcId="{2B6AF21B-B10A-46E8-B806-409F122241E6}" destId="{29EF2FCF-440A-4319-B62E-DE6AC7D383FA}" srcOrd="1" destOrd="0" presId="urn:microsoft.com/office/officeart/2005/8/layout/orgChart1"/>
    <dgm:cxn modelId="{46298909-73FF-48EA-B825-D0BAC63D1375}" type="presOf" srcId="{3D5E2DD9-7F6E-447E-8E81-6BF1E1783E66}" destId="{97C3176E-84C3-4FEA-AF47-48F87BC7CD93}" srcOrd="0" destOrd="0" presId="urn:microsoft.com/office/officeart/2005/8/layout/orgChart1"/>
    <dgm:cxn modelId="{0D06FFAC-5DE5-461F-B1DA-CF341763042F}" srcId="{7D5D405A-D07C-419D-9CB5-93D17FA477AA}" destId="{F5929430-D625-460E-8CDB-4118D9439515}" srcOrd="3" destOrd="0" parTransId="{DA524611-133F-499D-AD67-B1F246EFE6AD}" sibTransId="{C86F6AC3-E23F-4A09-8AC7-807A426B5124}"/>
    <dgm:cxn modelId="{C3EDDF59-EE34-461D-B418-B9F3C9D7E8FC}" type="presOf" srcId="{E0358827-B81C-4084-9BDE-BC78BC7D5692}" destId="{3C41E94A-170F-4BD3-8CF4-A2A0AF817C4E}" srcOrd="0" destOrd="0" presId="urn:microsoft.com/office/officeart/2005/8/layout/orgChart1"/>
    <dgm:cxn modelId="{8F6765FA-0D19-4F68-9C5D-4C32210C97A5}" type="presOf" srcId="{F5929430-D625-460E-8CDB-4118D9439515}" destId="{97B49338-DAB2-4725-8474-5DCC22D3DE77}" srcOrd="0" destOrd="0" presId="urn:microsoft.com/office/officeart/2005/8/layout/orgChart1"/>
    <dgm:cxn modelId="{548B2DA6-1A91-4989-B189-CF8755FC5B7B}" type="presOf" srcId="{7401457E-2208-4CA9-AE47-3349E204A270}" destId="{020CE435-A61F-4C42-8709-8B1794D2D0CF}" srcOrd="0" destOrd="0" presId="urn:microsoft.com/office/officeart/2005/8/layout/orgChart1"/>
    <dgm:cxn modelId="{94A47196-9C2E-473C-ACCD-A666E1C5152E}" srcId="{0A17149A-BDE1-4284-9941-8FF062408BB1}" destId="{11A46D18-5DD7-4127-A56C-7286804EE398}" srcOrd="4" destOrd="0" parTransId="{3973610A-5B9C-49E6-A6D4-A3CBEE02E96B}" sibTransId="{F395C1C1-8527-4251-9776-6F1620ED78B3}"/>
    <dgm:cxn modelId="{4CA1CCBF-FFD1-4E31-964D-3535401E01D6}" srcId="{0A17149A-BDE1-4284-9941-8FF062408BB1}" destId="{B0BCCE85-F3C2-4CEE-9363-1FB9A5077B50}" srcOrd="8" destOrd="0" parTransId="{EB6759A9-0BD6-42D4-8A90-3AB0FF7BAA85}" sibTransId="{1EE9DECA-0632-4291-A932-18C69E28BC17}"/>
    <dgm:cxn modelId="{6226566C-4D0D-4422-A265-5C0EFB5C1C85}" type="presOf" srcId="{D40242F9-4172-41A3-B917-FE00BF62F19B}" destId="{7BC96C94-B0EB-4C34-99B0-E85C87465976}" srcOrd="0" destOrd="0" presId="urn:microsoft.com/office/officeart/2005/8/layout/orgChart1"/>
    <dgm:cxn modelId="{0993A520-81D6-49CB-B2BD-36622387520E}" type="presOf" srcId="{7D5D405A-D07C-419D-9CB5-93D17FA477AA}" destId="{1ED8B27F-F709-47F9-ADCA-ABAA50914D63}" srcOrd="1" destOrd="0" presId="urn:microsoft.com/office/officeart/2005/8/layout/orgChart1"/>
    <dgm:cxn modelId="{77C8B353-D8FA-43FE-91FB-FA17602C8AC8}" type="presOf" srcId="{EB6759A9-0BD6-42D4-8A90-3AB0FF7BAA85}" destId="{AF3E47E0-0914-44FA-BDCA-0D1A286F2739}" srcOrd="0" destOrd="0" presId="urn:microsoft.com/office/officeart/2005/8/layout/orgChart1"/>
    <dgm:cxn modelId="{27BFA6CB-DFFE-40A0-AB4D-3439108EACD1}" type="presOf" srcId="{C94B4EC2-240E-41F7-8CE6-1D77D9913EB9}" destId="{4C9E9CF0-C1A2-4677-ABFE-5B62D894949B}" srcOrd="0" destOrd="0" presId="urn:microsoft.com/office/officeart/2005/8/layout/orgChart1"/>
    <dgm:cxn modelId="{5F1DA55D-C5BB-4E8A-A7A8-72CFB042256C}" type="presOf" srcId="{DA524611-133F-499D-AD67-B1F246EFE6AD}" destId="{7FEF1C79-51EF-4FDD-822E-999F25B76A4D}" srcOrd="0" destOrd="0" presId="urn:microsoft.com/office/officeart/2005/8/layout/orgChart1"/>
    <dgm:cxn modelId="{B0DB3790-0513-4597-AD86-A04FD42397D1}" type="presOf" srcId="{4CA871F6-5CC4-44E4-B383-82790E15FBA2}" destId="{545B3140-5C91-4781-8AA9-0EF824C61331}" srcOrd="0" destOrd="0" presId="urn:microsoft.com/office/officeart/2005/8/layout/orgChart1"/>
    <dgm:cxn modelId="{9144496B-C4B6-47A9-A7BC-188D02EC55B9}" type="presOf" srcId="{8E60670D-19C7-44E2-BB45-7E173A25A2C6}" destId="{CC5CFFD3-BBA8-424B-B6F2-545745BE22AC}" srcOrd="0" destOrd="0" presId="urn:microsoft.com/office/officeart/2005/8/layout/orgChart1"/>
    <dgm:cxn modelId="{6D310F54-4987-4F44-9A79-6F7325E835AB}" srcId="{11A46D18-5DD7-4127-A56C-7286804EE398}" destId="{F5C68074-EA30-44A9-AF46-DDE13D922C40}" srcOrd="0" destOrd="0" parTransId="{3D5E2DD9-7F6E-447E-8E81-6BF1E1783E66}" sibTransId="{6A5F35A2-589A-49FC-868A-85CAC0A0080E}"/>
    <dgm:cxn modelId="{987E344E-0FE1-4A21-8F35-14607130389B}" type="presOf" srcId="{008D8F73-FDAB-4A4E-A926-0E4A462F13B9}" destId="{9E50E335-4330-44F2-95B4-76069E117162}" srcOrd="0" destOrd="0" presId="urn:microsoft.com/office/officeart/2005/8/layout/orgChart1"/>
    <dgm:cxn modelId="{61BDF420-46E7-4F53-8F6D-856676D63E96}" type="presOf" srcId="{2B6AF21B-B10A-46E8-B806-409F122241E6}" destId="{AD431767-0ECF-401B-9D90-E62A20B1B676}" srcOrd="0" destOrd="0" presId="urn:microsoft.com/office/officeart/2005/8/layout/orgChart1"/>
    <dgm:cxn modelId="{425459C6-4AB2-45EB-91B3-DDEDA2DE598F}" type="presOf" srcId="{0B8F376A-64B7-4B15-B307-86E256470300}" destId="{FC8627F0-AFB6-4605-97E1-0F7FC2B2CB21}" srcOrd="0" destOrd="0" presId="urn:microsoft.com/office/officeart/2005/8/layout/orgChart1"/>
    <dgm:cxn modelId="{A570316F-91D3-4F16-912C-6BAF1FAB7919}" type="presOf" srcId="{B3CCDDC5-4909-47E0-BC02-AFD815B620AC}" destId="{C7D91A8A-DC4A-4496-95E4-F8F92DC0034F}" srcOrd="0" destOrd="0" presId="urn:microsoft.com/office/officeart/2005/8/layout/orgChart1"/>
    <dgm:cxn modelId="{61BAC568-CC15-4C04-89AA-E8CF74C04BF5}" srcId="{EB69651D-28A8-4C92-8B26-8D0818BB9818}" destId="{E0358827-B81C-4084-9BDE-BC78BC7D5692}" srcOrd="0" destOrd="0" parTransId="{74FD77A0-47CE-4E81-86F6-809E3E4B3A64}" sibTransId="{F776B876-1C3D-42E8-8263-C4ECBDA1634D}"/>
    <dgm:cxn modelId="{20CF4EDB-28E1-4AA0-AACB-41C5D19EF11B}" type="presOf" srcId="{61F8AEBE-9380-4EB3-8546-655A16F219CA}" destId="{FADAD001-C60B-433E-A58A-8B5F4A2A36D0}" srcOrd="0" destOrd="0" presId="urn:microsoft.com/office/officeart/2005/8/layout/orgChart1"/>
    <dgm:cxn modelId="{89F946B7-858D-4418-9FBE-404D696B2D41}" srcId="{7D5D405A-D07C-419D-9CB5-93D17FA477AA}" destId="{DC751DE2-EEE2-403B-8AC6-0DDF5C1BDAF1}" srcOrd="1" destOrd="0" parTransId="{F7621466-DB59-443F-8F75-55458EE41CAA}" sibTransId="{C2A90C6A-08AF-47C4-88C6-1444CB8B5071}"/>
    <dgm:cxn modelId="{4FED4B63-B29E-423E-9945-C24DAE0C6ABF}" srcId="{8E60670D-19C7-44E2-BB45-7E173A25A2C6}" destId="{8B30B3BE-3EAC-4515-B070-0DD3467581F1}" srcOrd="0" destOrd="0" parTransId="{41D64246-97E2-4769-B9FF-11D751146651}" sibTransId="{46EEC898-4DCB-44C4-A2D9-0E021B212064}"/>
    <dgm:cxn modelId="{BE04E4A5-3576-462B-9180-F10F9603FF2B}" type="presOf" srcId="{9AD7289F-3A86-4C22-B6AF-DA006CD37DB4}" destId="{B5ED37E4-3A5D-4E7B-AE9B-46C76C00C2F8}" srcOrd="0" destOrd="0" presId="urn:microsoft.com/office/officeart/2005/8/layout/orgChart1"/>
    <dgm:cxn modelId="{F8C7CB4E-57AD-41CC-9A1A-B092D16DD8C3}" type="presOf" srcId="{8E60670D-19C7-44E2-BB45-7E173A25A2C6}" destId="{F25A4434-3500-49C1-A73B-A418454A69FA}" srcOrd="1" destOrd="0" presId="urn:microsoft.com/office/officeart/2005/8/layout/orgChart1"/>
    <dgm:cxn modelId="{27108BF5-2506-4B93-AE8E-C9576F71DD46}" srcId="{8E60670D-19C7-44E2-BB45-7E173A25A2C6}" destId="{251A30D5-C345-4C54-ADC9-FBC7A231D8AA}" srcOrd="1" destOrd="0" parTransId="{3DC1A82A-AEFA-4A03-BDF2-DEFB6851DF41}" sibTransId="{0C3DBE95-3A59-4A5F-867F-7BD98B6A8397}"/>
    <dgm:cxn modelId="{9DDA85E5-0B73-4A55-8719-0BD0E075C81F}" type="presOf" srcId="{7ECA8189-C919-49CF-B970-64ED905CFFBA}" destId="{FAAE23C0-025D-41E6-8109-2340403CEAAE}" srcOrd="0" destOrd="0" presId="urn:microsoft.com/office/officeart/2005/8/layout/orgChart1"/>
    <dgm:cxn modelId="{0D8ED69A-5DC9-4070-80C8-378E49B4D10B}" type="presOf" srcId="{0A17149A-BDE1-4284-9941-8FF062408BB1}" destId="{B268BD8C-6918-47EB-8D8A-2A7DA23D2730}" srcOrd="0" destOrd="0" presId="urn:microsoft.com/office/officeart/2005/8/layout/orgChart1"/>
    <dgm:cxn modelId="{3514F530-B130-4ADA-9B7C-029AD2F2D020}" type="presOf" srcId="{1C8B0F15-A394-44E0-AB7C-F12F7C1F789A}" destId="{EB025839-41DC-4E29-8EFC-74DDB807FDF1}" srcOrd="1" destOrd="0" presId="urn:microsoft.com/office/officeart/2005/8/layout/orgChart1"/>
    <dgm:cxn modelId="{2FB17815-C1FC-4C20-A929-C7A57C624399}" type="presOf" srcId="{D5CE0C34-5FD0-4DB1-8714-1E6B7428A3F3}" destId="{E351C686-F9C4-4A90-AEF1-5DD15143AEBA}" srcOrd="0" destOrd="0" presId="urn:microsoft.com/office/officeart/2005/8/layout/orgChart1"/>
    <dgm:cxn modelId="{D5F40490-9025-428D-9279-771CDDDC8A91}" type="presOf" srcId="{DFA8EEDC-A5AE-4A27-86CE-9B90ACEC6710}" destId="{B3AFDDA2-9CFE-4737-A07B-C137F2DC9FD1}" srcOrd="0" destOrd="0" presId="urn:microsoft.com/office/officeart/2005/8/layout/orgChart1"/>
    <dgm:cxn modelId="{EAA0676A-E9A1-4280-B4D0-6536CEC688AC}" type="presOf" srcId="{11A46D18-5DD7-4127-A56C-7286804EE398}" destId="{C7965BE6-598A-44BE-87FA-9F52CC57979C}" srcOrd="1" destOrd="0" presId="urn:microsoft.com/office/officeart/2005/8/layout/orgChart1"/>
    <dgm:cxn modelId="{2F7E4505-F69E-419E-B078-672DD0E9298B}" type="presOf" srcId="{8B30B3BE-3EAC-4515-B070-0DD3467581F1}" destId="{7D362B7C-B04D-4FA7-AD50-DEDC39DFCF44}" srcOrd="0" destOrd="0" presId="urn:microsoft.com/office/officeart/2005/8/layout/orgChart1"/>
    <dgm:cxn modelId="{46EBCA42-8288-4BB2-9499-3ACFC4D55E38}" type="presOf" srcId="{F7621466-DB59-443F-8F75-55458EE41CAA}" destId="{D5AF3879-A87D-4192-9C36-46EEEF45406C}" srcOrd="0" destOrd="0" presId="urn:microsoft.com/office/officeart/2005/8/layout/orgChart1"/>
    <dgm:cxn modelId="{18924729-B1EC-4651-8B04-0E260797453F}" type="presOf" srcId="{74FD77A0-47CE-4E81-86F6-809E3E4B3A64}" destId="{3BB7D4E8-4C37-4F2A-9C17-4EA9A436BB67}" srcOrd="0" destOrd="0" presId="urn:microsoft.com/office/officeart/2005/8/layout/orgChart1"/>
    <dgm:cxn modelId="{10541472-2F13-45CD-BE77-264CAC8FA12D}" type="presOf" srcId="{0A17149A-BDE1-4284-9941-8FF062408BB1}" destId="{0759BD84-F323-409F-BE9B-FA8DFC8CA68D}" srcOrd="1" destOrd="0" presId="urn:microsoft.com/office/officeart/2005/8/layout/orgChart1"/>
    <dgm:cxn modelId="{A42B7A18-1C4D-4C31-9BB5-A3354E07E812}" srcId="{0A17149A-BDE1-4284-9941-8FF062408BB1}" destId="{A5090A4A-E084-4FC0-8435-CE8284471464}" srcOrd="9" destOrd="0" parTransId="{7ECA8189-C919-49CF-B970-64ED905CFFBA}" sibTransId="{A80D9786-7A0B-4571-9375-F56B166A7886}"/>
    <dgm:cxn modelId="{A61B44B6-BE82-4956-8951-2FE60A96144D}" type="presOf" srcId="{A5090A4A-E084-4FC0-8435-CE8284471464}" destId="{4D469C14-18CE-438E-B115-66456325B961}" srcOrd="0" destOrd="0" presId="urn:microsoft.com/office/officeart/2005/8/layout/orgChart1"/>
    <dgm:cxn modelId="{D256E686-2C3F-420C-9405-8D458A80FBFF}" type="presOf" srcId="{41D64246-97E2-4769-B9FF-11D751146651}" destId="{B6B7419B-C533-4D2D-B0DA-E8D94A73DA37}" srcOrd="0" destOrd="0" presId="urn:microsoft.com/office/officeart/2005/8/layout/orgChart1"/>
    <dgm:cxn modelId="{E09408CF-5E31-4F41-B3D8-4CE18BABEF14}" srcId="{0A17149A-BDE1-4284-9941-8FF062408BB1}" destId="{7D5D405A-D07C-419D-9CB5-93D17FA477AA}" srcOrd="1" destOrd="0" parTransId="{70D6EC45-B8D3-4965-AB81-305E099AD41F}" sibTransId="{9FF75683-6740-4AC3-B72D-CDA0E1C5232E}"/>
    <dgm:cxn modelId="{D6B8117F-73FA-4641-806A-B4EFE8BF92AD}" type="presOf" srcId="{38AC217A-7F88-4C19-9087-2D26B3C690B2}" destId="{4B7E8BEB-F725-4435-9F30-1F4DAFF74D8E}" srcOrd="1" destOrd="0" presId="urn:microsoft.com/office/officeart/2005/8/layout/orgChart1"/>
    <dgm:cxn modelId="{E70D6D97-31CE-4EDC-9D14-84817CA16592}" type="presOf" srcId="{B0BCCE85-F3C2-4CEE-9363-1FB9A5077B50}" destId="{ADCD91CE-C780-40A2-9D3A-F8C691A7CFDF}" srcOrd="0" destOrd="0" presId="urn:microsoft.com/office/officeart/2005/8/layout/orgChart1"/>
    <dgm:cxn modelId="{2EC5BC0F-86E1-4C53-BD88-5906667F91A3}" srcId="{1C8B0F15-A394-44E0-AB7C-F12F7C1F789A}" destId="{38AC217A-7F88-4C19-9087-2D26B3C690B2}" srcOrd="0" destOrd="0" parTransId="{4CA871F6-5CC4-44E4-B383-82790E15FBA2}" sibTransId="{84F936FD-D13F-463F-942C-7AFB392ED9D5}"/>
    <dgm:cxn modelId="{DF7A8D17-D13F-46BB-9573-8017DAEDA9DB}" type="presParOf" srcId="{C7D91A8A-DC4A-4496-95E4-F8F92DC0034F}" destId="{572E6940-EA9A-48C2-9F8C-BC5B770D9E07}" srcOrd="0" destOrd="0" presId="urn:microsoft.com/office/officeart/2005/8/layout/orgChart1"/>
    <dgm:cxn modelId="{AA03184E-CAD0-4455-BF61-D85E7D95E778}" type="presParOf" srcId="{572E6940-EA9A-48C2-9F8C-BC5B770D9E07}" destId="{E2360DBE-DACA-4750-BEB5-942835A17086}" srcOrd="0" destOrd="0" presId="urn:microsoft.com/office/officeart/2005/8/layout/orgChart1"/>
    <dgm:cxn modelId="{153EB02B-6CF2-47E5-9941-1C8FD7C976C9}" type="presParOf" srcId="{E2360DBE-DACA-4750-BEB5-942835A17086}" destId="{B268BD8C-6918-47EB-8D8A-2A7DA23D2730}" srcOrd="0" destOrd="0" presId="urn:microsoft.com/office/officeart/2005/8/layout/orgChart1"/>
    <dgm:cxn modelId="{EBE1D7FA-9546-425E-8B9A-58B8326ACC0F}" type="presParOf" srcId="{E2360DBE-DACA-4750-BEB5-942835A17086}" destId="{0759BD84-F323-409F-BE9B-FA8DFC8CA68D}" srcOrd="1" destOrd="0" presId="urn:microsoft.com/office/officeart/2005/8/layout/orgChart1"/>
    <dgm:cxn modelId="{98F78960-9144-4D91-ABA0-11EFB4CEDE35}" type="presParOf" srcId="{572E6940-EA9A-48C2-9F8C-BC5B770D9E07}" destId="{E559576B-71D5-4B91-8999-2C5B04ED1187}" srcOrd="1" destOrd="0" presId="urn:microsoft.com/office/officeart/2005/8/layout/orgChart1"/>
    <dgm:cxn modelId="{D7397E1A-EADD-4D47-AAD4-461AA8BBAB22}" type="presParOf" srcId="{E559576B-71D5-4B91-8999-2C5B04ED1187}" destId="{CB441E20-5FCB-45E0-BE6B-61A9AC24D657}" srcOrd="0" destOrd="0" presId="urn:microsoft.com/office/officeart/2005/8/layout/orgChart1"/>
    <dgm:cxn modelId="{3D113860-385B-4A7A-88A7-5C9247A3CC86}" type="presParOf" srcId="{E559576B-71D5-4B91-8999-2C5B04ED1187}" destId="{D97E0508-72CC-4C43-9DDB-269263473430}" srcOrd="1" destOrd="0" presId="urn:microsoft.com/office/officeart/2005/8/layout/orgChart1"/>
    <dgm:cxn modelId="{C83F7B28-B150-43F1-8C43-CC4EEF3A5D75}" type="presParOf" srcId="{D97E0508-72CC-4C43-9DDB-269263473430}" destId="{78993CEA-606D-44AE-B94A-F95C214BC683}" srcOrd="0" destOrd="0" presId="urn:microsoft.com/office/officeart/2005/8/layout/orgChart1"/>
    <dgm:cxn modelId="{2A9CF755-7992-4F64-98A7-8BE7932D8828}" type="presParOf" srcId="{78993CEA-606D-44AE-B94A-F95C214BC683}" destId="{CC5CFFD3-BBA8-424B-B6F2-545745BE22AC}" srcOrd="0" destOrd="0" presId="urn:microsoft.com/office/officeart/2005/8/layout/orgChart1"/>
    <dgm:cxn modelId="{C41D4E24-5647-4A89-8843-336F0EAA7AD8}" type="presParOf" srcId="{78993CEA-606D-44AE-B94A-F95C214BC683}" destId="{F25A4434-3500-49C1-A73B-A418454A69FA}" srcOrd="1" destOrd="0" presId="urn:microsoft.com/office/officeart/2005/8/layout/orgChart1"/>
    <dgm:cxn modelId="{A7C05C20-F1A7-4F0C-A2B5-E7EA30816FE1}" type="presParOf" srcId="{D97E0508-72CC-4C43-9DDB-269263473430}" destId="{F0EB8288-B731-48BC-B474-4D54E6020336}" srcOrd="1" destOrd="0" presId="urn:microsoft.com/office/officeart/2005/8/layout/orgChart1"/>
    <dgm:cxn modelId="{13B86C66-65B3-45FD-9490-4A59669AB774}" type="presParOf" srcId="{F0EB8288-B731-48BC-B474-4D54E6020336}" destId="{B6B7419B-C533-4D2D-B0DA-E8D94A73DA37}" srcOrd="0" destOrd="0" presId="urn:microsoft.com/office/officeart/2005/8/layout/orgChart1"/>
    <dgm:cxn modelId="{6381C30A-5E26-4001-8C68-997604FBA9B2}" type="presParOf" srcId="{F0EB8288-B731-48BC-B474-4D54E6020336}" destId="{CE3273DC-6512-4574-B710-DCD50BC96498}" srcOrd="1" destOrd="0" presId="urn:microsoft.com/office/officeart/2005/8/layout/orgChart1"/>
    <dgm:cxn modelId="{64B9F862-0518-4EEA-8C84-1E3DF935DBFD}" type="presParOf" srcId="{CE3273DC-6512-4574-B710-DCD50BC96498}" destId="{BA9A266D-4E01-4BFC-BAAF-5C987B2E8EA8}" srcOrd="0" destOrd="0" presId="urn:microsoft.com/office/officeart/2005/8/layout/orgChart1"/>
    <dgm:cxn modelId="{4CAB0E3A-1682-48DF-8197-5FAD396F0675}" type="presParOf" srcId="{BA9A266D-4E01-4BFC-BAAF-5C987B2E8EA8}" destId="{7D362B7C-B04D-4FA7-AD50-DEDC39DFCF44}" srcOrd="0" destOrd="0" presId="urn:microsoft.com/office/officeart/2005/8/layout/orgChart1"/>
    <dgm:cxn modelId="{086F3D7A-49D6-42D1-8FA4-2FCF108B9631}" type="presParOf" srcId="{BA9A266D-4E01-4BFC-BAAF-5C987B2E8EA8}" destId="{4D39D1B2-D072-4281-89EB-C9B641B931FD}" srcOrd="1" destOrd="0" presId="urn:microsoft.com/office/officeart/2005/8/layout/orgChart1"/>
    <dgm:cxn modelId="{5C4E3129-2299-4AC2-96EF-29639437267D}" type="presParOf" srcId="{CE3273DC-6512-4574-B710-DCD50BC96498}" destId="{A8FE7791-CE44-48CE-A797-50B74813C81F}" srcOrd="1" destOrd="0" presId="urn:microsoft.com/office/officeart/2005/8/layout/orgChart1"/>
    <dgm:cxn modelId="{29F9DACA-46AF-41E5-99EA-31C1EBCB466D}" type="presParOf" srcId="{CE3273DC-6512-4574-B710-DCD50BC96498}" destId="{284505F0-C5CC-4815-A5A4-049A57D84556}" srcOrd="2" destOrd="0" presId="urn:microsoft.com/office/officeart/2005/8/layout/orgChart1"/>
    <dgm:cxn modelId="{F23C6B64-C068-45AB-8878-940599563092}" type="presParOf" srcId="{F0EB8288-B731-48BC-B474-4D54E6020336}" destId="{7AD24F01-22CB-4784-AF2B-628694E529B3}" srcOrd="2" destOrd="0" presId="urn:microsoft.com/office/officeart/2005/8/layout/orgChart1"/>
    <dgm:cxn modelId="{CC282161-4DEB-4D43-9F0C-6DD572FEAA42}" type="presParOf" srcId="{F0EB8288-B731-48BC-B474-4D54E6020336}" destId="{D3E07092-F27A-49E6-B41F-EC365A9FCA7C}" srcOrd="3" destOrd="0" presId="urn:microsoft.com/office/officeart/2005/8/layout/orgChart1"/>
    <dgm:cxn modelId="{CB93AE49-CC2A-43C1-9BD8-8ABA1F2B6CE2}" type="presParOf" srcId="{D3E07092-F27A-49E6-B41F-EC365A9FCA7C}" destId="{4B408780-83E2-4D50-B8E9-A7A74468DE51}" srcOrd="0" destOrd="0" presId="urn:microsoft.com/office/officeart/2005/8/layout/orgChart1"/>
    <dgm:cxn modelId="{B3CADF05-1131-474A-B12E-3534F9D2CB8A}" type="presParOf" srcId="{4B408780-83E2-4D50-B8E9-A7A74468DE51}" destId="{63096FD0-BA6F-4F81-9A9D-D49641AC8453}" srcOrd="0" destOrd="0" presId="urn:microsoft.com/office/officeart/2005/8/layout/orgChart1"/>
    <dgm:cxn modelId="{18D4E69F-0742-46D1-A154-7D24C4179A21}" type="presParOf" srcId="{4B408780-83E2-4D50-B8E9-A7A74468DE51}" destId="{4F0E3622-1CA6-42CE-939D-3B04CB23BE67}" srcOrd="1" destOrd="0" presId="urn:microsoft.com/office/officeart/2005/8/layout/orgChart1"/>
    <dgm:cxn modelId="{18E9F523-BBF6-4FDC-BD55-F095F04FC823}" type="presParOf" srcId="{D3E07092-F27A-49E6-B41F-EC365A9FCA7C}" destId="{309B3929-5345-4E75-A345-9BEDA257FE5F}" srcOrd="1" destOrd="0" presId="urn:microsoft.com/office/officeart/2005/8/layout/orgChart1"/>
    <dgm:cxn modelId="{1182C7F2-153F-41D5-9FD3-FA97DA9C3ACC}" type="presParOf" srcId="{D3E07092-F27A-49E6-B41F-EC365A9FCA7C}" destId="{D3153C1A-7402-412D-9DE5-20ECF13A8EE1}" srcOrd="2" destOrd="0" presId="urn:microsoft.com/office/officeart/2005/8/layout/orgChart1"/>
    <dgm:cxn modelId="{8ACD8269-6251-41B8-AB33-645CB88DEB38}" type="presParOf" srcId="{F0EB8288-B731-48BC-B474-4D54E6020336}" destId="{FADAD001-C60B-433E-A58A-8B5F4A2A36D0}" srcOrd="4" destOrd="0" presId="urn:microsoft.com/office/officeart/2005/8/layout/orgChart1"/>
    <dgm:cxn modelId="{652F39F4-658A-4C25-87CA-A271694BF693}" type="presParOf" srcId="{F0EB8288-B731-48BC-B474-4D54E6020336}" destId="{D01AF605-4E55-4212-B5E1-D17A0CACE06F}" srcOrd="5" destOrd="0" presId="urn:microsoft.com/office/officeart/2005/8/layout/orgChart1"/>
    <dgm:cxn modelId="{7735B573-F05C-4CD3-833F-CA77FBE71CDC}" type="presParOf" srcId="{D01AF605-4E55-4212-B5E1-D17A0CACE06F}" destId="{C4FB5A1F-FC51-4CD9-B579-87FFBF5F2DA2}" srcOrd="0" destOrd="0" presId="urn:microsoft.com/office/officeart/2005/8/layout/orgChart1"/>
    <dgm:cxn modelId="{8DBA0EFA-571A-40E0-9B40-AFFE34648C3C}" type="presParOf" srcId="{C4FB5A1F-FC51-4CD9-B579-87FFBF5F2DA2}" destId="{B2E77ECE-98CE-4A12-8844-5CA9CF7C10CE}" srcOrd="0" destOrd="0" presId="urn:microsoft.com/office/officeart/2005/8/layout/orgChart1"/>
    <dgm:cxn modelId="{BC2726AC-A21E-4020-8841-AA796D84593D}" type="presParOf" srcId="{C4FB5A1F-FC51-4CD9-B579-87FFBF5F2DA2}" destId="{7AF05950-9536-4F0F-AE9F-ABB6B61CC0B2}" srcOrd="1" destOrd="0" presId="urn:microsoft.com/office/officeart/2005/8/layout/orgChart1"/>
    <dgm:cxn modelId="{A6343058-B0B6-47F6-A851-EF4515C68E39}" type="presParOf" srcId="{D01AF605-4E55-4212-B5E1-D17A0CACE06F}" destId="{F0B04913-31CB-40D8-8975-D82F335AC24E}" srcOrd="1" destOrd="0" presId="urn:microsoft.com/office/officeart/2005/8/layout/orgChart1"/>
    <dgm:cxn modelId="{990AE5AA-0F35-4569-AA4D-5140A47C7606}" type="presParOf" srcId="{D01AF605-4E55-4212-B5E1-D17A0CACE06F}" destId="{704B9F0C-2438-4FC6-8D5E-7E21A30702E2}" srcOrd="2" destOrd="0" presId="urn:microsoft.com/office/officeart/2005/8/layout/orgChart1"/>
    <dgm:cxn modelId="{413E0DE5-254B-4DD2-B3D5-74667B9B8EDA}" type="presParOf" srcId="{D97E0508-72CC-4C43-9DDB-269263473430}" destId="{F479B63E-DBF7-494D-B0E1-DB48B8F84736}" srcOrd="2" destOrd="0" presId="urn:microsoft.com/office/officeart/2005/8/layout/orgChart1"/>
    <dgm:cxn modelId="{47117BE3-8B85-4450-BCF5-A36578C38D51}" type="presParOf" srcId="{E559576B-71D5-4B91-8999-2C5B04ED1187}" destId="{B4DACFD2-55AF-48D2-A817-0621A1A13B01}" srcOrd="2" destOrd="0" presId="urn:microsoft.com/office/officeart/2005/8/layout/orgChart1"/>
    <dgm:cxn modelId="{747F9D6F-8D49-434D-82DC-CC6D474F2707}" type="presParOf" srcId="{E559576B-71D5-4B91-8999-2C5B04ED1187}" destId="{F65AB65C-5FDB-4552-848C-1646F4B505C9}" srcOrd="3" destOrd="0" presId="urn:microsoft.com/office/officeart/2005/8/layout/orgChart1"/>
    <dgm:cxn modelId="{27B7462B-BF40-42C6-B1E1-9C3CF573CCE1}" type="presParOf" srcId="{F65AB65C-5FDB-4552-848C-1646F4B505C9}" destId="{010A4167-17FB-4E6C-AA8D-1C9E474AE966}" srcOrd="0" destOrd="0" presId="urn:microsoft.com/office/officeart/2005/8/layout/orgChart1"/>
    <dgm:cxn modelId="{3F1242AA-C572-401A-98A8-F1308BC37C0B}" type="presParOf" srcId="{010A4167-17FB-4E6C-AA8D-1C9E474AE966}" destId="{7143D64A-20B5-4520-9002-42791575BF9C}" srcOrd="0" destOrd="0" presId="urn:microsoft.com/office/officeart/2005/8/layout/orgChart1"/>
    <dgm:cxn modelId="{534EDFDF-0F0D-4F02-8EDE-D87A04EB6045}" type="presParOf" srcId="{010A4167-17FB-4E6C-AA8D-1C9E474AE966}" destId="{1ED8B27F-F709-47F9-ADCA-ABAA50914D63}" srcOrd="1" destOrd="0" presId="urn:microsoft.com/office/officeart/2005/8/layout/orgChart1"/>
    <dgm:cxn modelId="{A751EC2D-AA5C-495F-8F15-3A8F372E7012}" type="presParOf" srcId="{F65AB65C-5FDB-4552-848C-1646F4B505C9}" destId="{520E4BA8-15FD-47B6-A22D-8D2646E02500}" srcOrd="1" destOrd="0" presId="urn:microsoft.com/office/officeart/2005/8/layout/orgChart1"/>
    <dgm:cxn modelId="{7B1207F9-E441-4B2A-9784-9C4FBE9145F4}" type="presParOf" srcId="{520E4BA8-15FD-47B6-A22D-8D2646E02500}" destId="{F273CB01-3A93-4DBE-9E61-4178E03BD680}" srcOrd="0" destOrd="0" presId="urn:microsoft.com/office/officeart/2005/8/layout/orgChart1"/>
    <dgm:cxn modelId="{5D48FBDC-2594-4918-A590-C684E96FFB29}" type="presParOf" srcId="{520E4BA8-15FD-47B6-A22D-8D2646E02500}" destId="{2C9BDA88-893D-425A-992C-C4D48CB3ABE0}" srcOrd="1" destOrd="0" presId="urn:microsoft.com/office/officeart/2005/8/layout/orgChart1"/>
    <dgm:cxn modelId="{34AE8300-6102-478F-9B25-6CC531F3B7B8}" type="presParOf" srcId="{2C9BDA88-893D-425A-992C-C4D48CB3ABE0}" destId="{2738560C-7D16-4CCE-9D68-ABF42FF0D8AC}" srcOrd="0" destOrd="0" presId="urn:microsoft.com/office/officeart/2005/8/layout/orgChart1"/>
    <dgm:cxn modelId="{0000DC08-6EF8-4DE2-B2A7-1DC20E5E3DC4}" type="presParOf" srcId="{2738560C-7D16-4CCE-9D68-ABF42FF0D8AC}" destId="{B5ED37E4-3A5D-4E7B-AE9B-46C76C00C2F8}" srcOrd="0" destOrd="0" presId="urn:microsoft.com/office/officeart/2005/8/layout/orgChart1"/>
    <dgm:cxn modelId="{A60B096F-A556-4DB3-9432-66D597676144}" type="presParOf" srcId="{2738560C-7D16-4CCE-9D68-ABF42FF0D8AC}" destId="{E4EFEFDB-83B6-4EE4-9727-8C9EB54E6895}" srcOrd="1" destOrd="0" presId="urn:microsoft.com/office/officeart/2005/8/layout/orgChart1"/>
    <dgm:cxn modelId="{F8E9C390-4834-47BF-A89E-7C44C9EF06B8}" type="presParOf" srcId="{2C9BDA88-893D-425A-992C-C4D48CB3ABE0}" destId="{ABC6EE89-2979-44DE-A254-BB53E9E57DF8}" srcOrd="1" destOrd="0" presId="urn:microsoft.com/office/officeart/2005/8/layout/orgChart1"/>
    <dgm:cxn modelId="{2F338813-E4A1-4A6B-8D67-D14C0EFDE8AB}" type="presParOf" srcId="{2C9BDA88-893D-425A-992C-C4D48CB3ABE0}" destId="{126827AE-EDE8-4719-9720-40A8F81602BC}" srcOrd="2" destOrd="0" presId="urn:microsoft.com/office/officeart/2005/8/layout/orgChart1"/>
    <dgm:cxn modelId="{0965B84A-F2AD-4FFA-A6DC-8E6BC70B61BF}" type="presParOf" srcId="{520E4BA8-15FD-47B6-A22D-8D2646E02500}" destId="{D5AF3879-A87D-4192-9C36-46EEEF45406C}" srcOrd="2" destOrd="0" presId="urn:microsoft.com/office/officeart/2005/8/layout/orgChart1"/>
    <dgm:cxn modelId="{F5CBE9F2-577B-46A0-AF98-3DE8EB769325}" type="presParOf" srcId="{520E4BA8-15FD-47B6-A22D-8D2646E02500}" destId="{D78F902D-9406-4605-A795-26C9B72DFC42}" srcOrd="3" destOrd="0" presId="urn:microsoft.com/office/officeart/2005/8/layout/orgChart1"/>
    <dgm:cxn modelId="{0F45A75B-039D-4EEA-B910-34A3FA98CA60}" type="presParOf" srcId="{D78F902D-9406-4605-A795-26C9B72DFC42}" destId="{4B50AC3F-9E5B-4189-B1C9-8003A48BF1F5}" srcOrd="0" destOrd="0" presId="urn:microsoft.com/office/officeart/2005/8/layout/orgChart1"/>
    <dgm:cxn modelId="{2472F5EF-478E-49A6-8ECC-B180726303D7}" type="presParOf" srcId="{4B50AC3F-9E5B-4189-B1C9-8003A48BF1F5}" destId="{D526CEEA-52F5-453F-871B-3D10BA029ED1}" srcOrd="0" destOrd="0" presId="urn:microsoft.com/office/officeart/2005/8/layout/orgChart1"/>
    <dgm:cxn modelId="{E2511EDC-2B83-4617-A056-FBD182C9E868}" type="presParOf" srcId="{4B50AC3F-9E5B-4189-B1C9-8003A48BF1F5}" destId="{E1503EEC-7DDB-4508-87E3-276006808DAC}" srcOrd="1" destOrd="0" presId="urn:microsoft.com/office/officeart/2005/8/layout/orgChart1"/>
    <dgm:cxn modelId="{1814311D-ABCF-4FB9-90E8-7FC603F88DE3}" type="presParOf" srcId="{D78F902D-9406-4605-A795-26C9B72DFC42}" destId="{DE9492C9-1229-45C7-97DD-3E7FF4AC51C1}" srcOrd="1" destOrd="0" presId="urn:microsoft.com/office/officeart/2005/8/layout/orgChart1"/>
    <dgm:cxn modelId="{2EDA548E-FFA7-45A1-B993-BD8CB7F84E44}" type="presParOf" srcId="{D78F902D-9406-4605-A795-26C9B72DFC42}" destId="{C32CFF47-1E9F-4CB1-95EF-ED84C43294DD}" srcOrd="2" destOrd="0" presId="urn:microsoft.com/office/officeart/2005/8/layout/orgChart1"/>
    <dgm:cxn modelId="{67E88AA1-391C-4A06-8210-C5C7B9E25F7A}" type="presParOf" srcId="{520E4BA8-15FD-47B6-A22D-8D2646E02500}" destId="{1854BAC0-DB5F-485A-A2EB-1EFD0D865748}" srcOrd="4" destOrd="0" presId="urn:microsoft.com/office/officeart/2005/8/layout/orgChart1"/>
    <dgm:cxn modelId="{DF53CEC8-A92D-4A4B-A027-9D69FD13250C}" type="presParOf" srcId="{520E4BA8-15FD-47B6-A22D-8D2646E02500}" destId="{6A26D635-34A5-4D15-A70B-FB7B5E5DE1A5}" srcOrd="5" destOrd="0" presId="urn:microsoft.com/office/officeart/2005/8/layout/orgChart1"/>
    <dgm:cxn modelId="{C7C6154F-395E-418F-912D-FE2FA7E92D19}" type="presParOf" srcId="{6A26D635-34A5-4D15-A70B-FB7B5E5DE1A5}" destId="{4CF3DE49-3E6C-4E0A-BA1D-972D9D18202E}" srcOrd="0" destOrd="0" presId="urn:microsoft.com/office/officeart/2005/8/layout/orgChart1"/>
    <dgm:cxn modelId="{8639934D-406D-42D6-BDFC-75580EF00896}" type="presParOf" srcId="{4CF3DE49-3E6C-4E0A-BA1D-972D9D18202E}" destId="{46371EB8-81C9-4691-9EA6-FA2A718C334B}" srcOrd="0" destOrd="0" presId="urn:microsoft.com/office/officeart/2005/8/layout/orgChart1"/>
    <dgm:cxn modelId="{B0FA7E65-E880-4F9F-B592-264DA240CB6C}" type="presParOf" srcId="{4CF3DE49-3E6C-4E0A-BA1D-972D9D18202E}" destId="{F5D14735-D4F8-45E2-AE2D-4B1F12136975}" srcOrd="1" destOrd="0" presId="urn:microsoft.com/office/officeart/2005/8/layout/orgChart1"/>
    <dgm:cxn modelId="{1172AA3A-B892-416F-B810-1E7944B69719}" type="presParOf" srcId="{6A26D635-34A5-4D15-A70B-FB7B5E5DE1A5}" destId="{7A7ADB5B-5108-4795-8D9E-DFB0F8C5A8AB}" srcOrd="1" destOrd="0" presId="urn:microsoft.com/office/officeart/2005/8/layout/orgChart1"/>
    <dgm:cxn modelId="{2571B58D-7750-4711-86B3-428F4E046A75}" type="presParOf" srcId="{6A26D635-34A5-4D15-A70B-FB7B5E5DE1A5}" destId="{7D6B363F-3943-471C-9AD4-BB98A542CA93}" srcOrd="2" destOrd="0" presId="urn:microsoft.com/office/officeart/2005/8/layout/orgChart1"/>
    <dgm:cxn modelId="{1D9C69DC-12AA-4CC0-8206-F21E768DEE76}" type="presParOf" srcId="{520E4BA8-15FD-47B6-A22D-8D2646E02500}" destId="{7FEF1C79-51EF-4FDD-822E-999F25B76A4D}" srcOrd="6" destOrd="0" presId="urn:microsoft.com/office/officeart/2005/8/layout/orgChart1"/>
    <dgm:cxn modelId="{FC92245E-F3FA-4DED-8B96-A6C7295FB78F}" type="presParOf" srcId="{520E4BA8-15FD-47B6-A22D-8D2646E02500}" destId="{9252B6CE-340A-47A7-B439-650DDEB8F3E7}" srcOrd="7" destOrd="0" presId="urn:microsoft.com/office/officeart/2005/8/layout/orgChart1"/>
    <dgm:cxn modelId="{63235A75-6CD0-4A71-8BE2-BB994B2E6A26}" type="presParOf" srcId="{9252B6CE-340A-47A7-B439-650DDEB8F3E7}" destId="{74AC7D77-C697-465F-A294-26FF3DED2BE6}" srcOrd="0" destOrd="0" presId="urn:microsoft.com/office/officeart/2005/8/layout/orgChart1"/>
    <dgm:cxn modelId="{C8DA8E85-1C77-4E2F-AF54-6C8447939F25}" type="presParOf" srcId="{74AC7D77-C697-465F-A294-26FF3DED2BE6}" destId="{97B49338-DAB2-4725-8474-5DCC22D3DE77}" srcOrd="0" destOrd="0" presId="urn:microsoft.com/office/officeart/2005/8/layout/orgChart1"/>
    <dgm:cxn modelId="{917404C9-4150-4092-BE30-453A62FD79D9}" type="presParOf" srcId="{74AC7D77-C697-465F-A294-26FF3DED2BE6}" destId="{E9A0660B-98B3-4573-87C8-3049CB66FF97}" srcOrd="1" destOrd="0" presId="urn:microsoft.com/office/officeart/2005/8/layout/orgChart1"/>
    <dgm:cxn modelId="{E0B165FA-C8D5-4333-803C-271C23E4F0E9}" type="presParOf" srcId="{9252B6CE-340A-47A7-B439-650DDEB8F3E7}" destId="{CD02FD94-9751-4897-AF46-E871081754FB}" srcOrd="1" destOrd="0" presId="urn:microsoft.com/office/officeart/2005/8/layout/orgChart1"/>
    <dgm:cxn modelId="{AF32F717-3F24-4A21-93A4-7C3C8A4EE31C}" type="presParOf" srcId="{9252B6CE-340A-47A7-B439-650DDEB8F3E7}" destId="{F589C421-ABAA-4323-AE39-3D410215B621}" srcOrd="2" destOrd="0" presId="urn:microsoft.com/office/officeart/2005/8/layout/orgChart1"/>
    <dgm:cxn modelId="{36F26573-0BED-484C-A273-A8FEFE222D6E}" type="presParOf" srcId="{520E4BA8-15FD-47B6-A22D-8D2646E02500}" destId="{FAEE4DF3-3AA5-4D14-897C-EB746A93D899}" srcOrd="8" destOrd="0" presId="urn:microsoft.com/office/officeart/2005/8/layout/orgChart1"/>
    <dgm:cxn modelId="{42E74429-3D46-4F25-9775-8D50153DE6C5}" type="presParOf" srcId="{520E4BA8-15FD-47B6-A22D-8D2646E02500}" destId="{23BBD478-7122-48CA-BACA-C5093E73C78B}" srcOrd="9" destOrd="0" presId="urn:microsoft.com/office/officeart/2005/8/layout/orgChart1"/>
    <dgm:cxn modelId="{57C1BCEB-AF35-4526-913B-C6A570D16C3B}" type="presParOf" srcId="{23BBD478-7122-48CA-BACA-C5093E73C78B}" destId="{FE1A04D1-121D-4821-949B-A600E62232A9}" srcOrd="0" destOrd="0" presId="urn:microsoft.com/office/officeart/2005/8/layout/orgChart1"/>
    <dgm:cxn modelId="{10EF9CB9-72CB-47B1-B602-9F0E802D1D75}" type="presParOf" srcId="{FE1A04D1-121D-4821-949B-A600E62232A9}" destId="{5165E053-F522-45EF-BB1F-755E08198CE2}" srcOrd="0" destOrd="0" presId="urn:microsoft.com/office/officeart/2005/8/layout/orgChart1"/>
    <dgm:cxn modelId="{3726EAF6-7FC4-4AE7-8E16-359D35877CDF}" type="presParOf" srcId="{FE1A04D1-121D-4821-949B-A600E62232A9}" destId="{7F0804FD-2735-415C-9525-D07E6E241EBB}" srcOrd="1" destOrd="0" presId="urn:microsoft.com/office/officeart/2005/8/layout/orgChart1"/>
    <dgm:cxn modelId="{4A93C78D-D1AB-4821-A8D4-94275B9B998B}" type="presParOf" srcId="{23BBD478-7122-48CA-BACA-C5093E73C78B}" destId="{32EE82A7-2861-48AF-A309-B6386B39FBAF}" srcOrd="1" destOrd="0" presId="urn:microsoft.com/office/officeart/2005/8/layout/orgChart1"/>
    <dgm:cxn modelId="{A3C68F77-4A50-4A89-AB22-9B903D74B54B}" type="presParOf" srcId="{23BBD478-7122-48CA-BACA-C5093E73C78B}" destId="{5982F003-A6F8-445B-9951-7E62FD565849}" srcOrd="2" destOrd="0" presId="urn:microsoft.com/office/officeart/2005/8/layout/orgChart1"/>
    <dgm:cxn modelId="{573B773E-A6ED-486F-8348-949B6AC61B5B}" type="presParOf" srcId="{F65AB65C-5FDB-4552-848C-1646F4B505C9}" destId="{C5BA672A-DDD1-4658-B3C2-950ABADE7576}" srcOrd="2" destOrd="0" presId="urn:microsoft.com/office/officeart/2005/8/layout/orgChart1"/>
    <dgm:cxn modelId="{30BE65D7-89BA-493E-B9D9-B5DE0DCA38ED}" type="presParOf" srcId="{E559576B-71D5-4B91-8999-2C5B04ED1187}" destId="{FEC018BC-B209-4531-8432-870A44BC3580}" srcOrd="4" destOrd="0" presId="urn:microsoft.com/office/officeart/2005/8/layout/orgChart1"/>
    <dgm:cxn modelId="{FEF9E30D-97E9-474C-9731-F1B5EDFE6130}" type="presParOf" srcId="{E559576B-71D5-4B91-8999-2C5B04ED1187}" destId="{F85DC381-F62D-480E-9CBD-B9DACFA3AF9E}" srcOrd="5" destOrd="0" presId="urn:microsoft.com/office/officeart/2005/8/layout/orgChart1"/>
    <dgm:cxn modelId="{26EBA233-F474-4900-B5AA-71775E5F42CD}" type="presParOf" srcId="{F85DC381-F62D-480E-9CBD-B9DACFA3AF9E}" destId="{21119ED2-454F-42DC-890C-95097E85EDEE}" srcOrd="0" destOrd="0" presId="urn:microsoft.com/office/officeart/2005/8/layout/orgChart1"/>
    <dgm:cxn modelId="{403F29F8-AA92-4DB8-8011-F75B3AF9A519}" type="presParOf" srcId="{21119ED2-454F-42DC-890C-95097E85EDEE}" destId="{4C9E9CF0-C1A2-4677-ABFE-5B62D894949B}" srcOrd="0" destOrd="0" presId="urn:microsoft.com/office/officeart/2005/8/layout/orgChart1"/>
    <dgm:cxn modelId="{57EDD0B0-DE10-4A35-BB3C-0DF6065DC861}" type="presParOf" srcId="{21119ED2-454F-42DC-890C-95097E85EDEE}" destId="{C7BF4637-970F-40BF-8F70-9379F09BB865}" srcOrd="1" destOrd="0" presId="urn:microsoft.com/office/officeart/2005/8/layout/orgChart1"/>
    <dgm:cxn modelId="{63C25774-AEAF-4533-B398-DB1BCC5F7779}" type="presParOf" srcId="{F85DC381-F62D-480E-9CBD-B9DACFA3AF9E}" destId="{1F9C0943-24A9-4201-B89E-ECE0FBD199E7}" srcOrd="1" destOrd="0" presId="urn:microsoft.com/office/officeart/2005/8/layout/orgChart1"/>
    <dgm:cxn modelId="{C002978D-76B7-4DD2-A308-7DA418FC47D7}" type="presParOf" srcId="{1F9C0943-24A9-4201-B89E-ECE0FBD199E7}" destId="{DD9276EB-35E6-428F-822C-A0706C441FDD}" srcOrd="0" destOrd="0" presId="urn:microsoft.com/office/officeart/2005/8/layout/orgChart1"/>
    <dgm:cxn modelId="{FE6B4653-1B53-4A49-92AB-06BAEE519E4A}" type="presParOf" srcId="{1F9C0943-24A9-4201-B89E-ECE0FBD199E7}" destId="{A52AEBCD-8D33-4E9B-A608-95B7E18BBAD1}" srcOrd="1" destOrd="0" presId="urn:microsoft.com/office/officeart/2005/8/layout/orgChart1"/>
    <dgm:cxn modelId="{4B910377-A32D-4B14-8471-D3BDAF1DE16E}" type="presParOf" srcId="{A52AEBCD-8D33-4E9B-A608-95B7E18BBAD1}" destId="{6C5FB3CE-79E7-45A5-9B18-A3B640FD9EC8}" srcOrd="0" destOrd="0" presId="urn:microsoft.com/office/officeart/2005/8/layout/orgChart1"/>
    <dgm:cxn modelId="{8A759EF2-E1AC-44A7-8EEA-A832C38ACB35}" type="presParOf" srcId="{6C5FB3CE-79E7-45A5-9B18-A3B640FD9EC8}" destId="{95C50CF4-FF33-4A9F-A76B-DC2F66719C49}" srcOrd="0" destOrd="0" presId="urn:microsoft.com/office/officeart/2005/8/layout/orgChart1"/>
    <dgm:cxn modelId="{62C8C866-4CFF-4948-B038-D5B6550A5B14}" type="presParOf" srcId="{6C5FB3CE-79E7-45A5-9B18-A3B640FD9EC8}" destId="{70A7395B-6C3A-420F-87BA-83798E69B448}" srcOrd="1" destOrd="0" presId="urn:microsoft.com/office/officeart/2005/8/layout/orgChart1"/>
    <dgm:cxn modelId="{62F7DAB8-FB09-477D-A911-BD62AF97778B}" type="presParOf" srcId="{A52AEBCD-8D33-4E9B-A608-95B7E18BBAD1}" destId="{C58435A9-9F8D-402A-A522-9C4074D596F1}" srcOrd="1" destOrd="0" presId="urn:microsoft.com/office/officeart/2005/8/layout/orgChart1"/>
    <dgm:cxn modelId="{E416B410-FB72-476F-9271-53B85BC327CE}" type="presParOf" srcId="{A52AEBCD-8D33-4E9B-A608-95B7E18BBAD1}" destId="{FC7BFEB3-4E1C-4D2D-AB4F-1E3E49C76ECF}" srcOrd="2" destOrd="0" presId="urn:microsoft.com/office/officeart/2005/8/layout/orgChart1"/>
    <dgm:cxn modelId="{3598D6CA-C19A-4956-B62B-55FF80C5ABA5}" type="presParOf" srcId="{1F9C0943-24A9-4201-B89E-ECE0FBD199E7}" destId="{7BC96C94-B0EB-4C34-99B0-E85C87465976}" srcOrd="2" destOrd="0" presId="urn:microsoft.com/office/officeart/2005/8/layout/orgChart1"/>
    <dgm:cxn modelId="{985E209D-4F65-47EF-BFBA-C34BC471075C}" type="presParOf" srcId="{1F9C0943-24A9-4201-B89E-ECE0FBD199E7}" destId="{68F7A841-39ED-4A0D-9E90-E8A5B608D915}" srcOrd="3" destOrd="0" presId="urn:microsoft.com/office/officeart/2005/8/layout/orgChart1"/>
    <dgm:cxn modelId="{1F23110D-7641-412D-A3D6-66D9E2861D22}" type="presParOf" srcId="{68F7A841-39ED-4A0D-9E90-E8A5B608D915}" destId="{97298885-B39E-4AB5-85D3-36C61067043F}" srcOrd="0" destOrd="0" presId="urn:microsoft.com/office/officeart/2005/8/layout/orgChart1"/>
    <dgm:cxn modelId="{3E4BDDC4-CF3A-4741-A4BB-5B3CE6ADCEF8}" type="presParOf" srcId="{97298885-B39E-4AB5-85D3-36C61067043F}" destId="{B3AFDDA2-9CFE-4737-A07B-C137F2DC9FD1}" srcOrd="0" destOrd="0" presId="urn:microsoft.com/office/officeart/2005/8/layout/orgChart1"/>
    <dgm:cxn modelId="{2DC44650-001C-4E1A-8B68-B7F1C16F33B1}" type="presParOf" srcId="{97298885-B39E-4AB5-85D3-36C61067043F}" destId="{4E78B48F-C416-4044-9826-44CF628027F8}" srcOrd="1" destOrd="0" presId="urn:microsoft.com/office/officeart/2005/8/layout/orgChart1"/>
    <dgm:cxn modelId="{63E07F19-4D25-48A6-B68E-46C4C51B81FA}" type="presParOf" srcId="{68F7A841-39ED-4A0D-9E90-E8A5B608D915}" destId="{841828B8-6222-4B46-B89E-1FB2013B9E94}" srcOrd="1" destOrd="0" presId="urn:microsoft.com/office/officeart/2005/8/layout/orgChart1"/>
    <dgm:cxn modelId="{84934481-E03A-4BF8-847A-59100FF27A31}" type="presParOf" srcId="{68F7A841-39ED-4A0D-9E90-E8A5B608D915}" destId="{C9B0A3C2-D113-4E28-B30F-B8F247E006A7}" srcOrd="2" destOrd="0" presId="urn:microsoft.com/office/officeart/2005/8/layout/orgChart1"/>
    <dgm:cxn modelId="{4C1BC543-E17B-4A9C-9E8D-E1E1710B8B49}" type="presParOf" srcId="{F85DC381-F62D-480E-9CBD-B9DACFA3AF9E}" destId="{6FAFA1A9-5631-4A84-A5E0-7666CBA3C3FB}" srcOrd="2" destOrd="0" presId="urn:microsoft.com/office/officeart/2005/8/layout/orgChart1"/>
    <dgm:cxn modelId="{39B6C55C-F212-4194-9FD8-5178726D102C}" type="presParOf" srcId="{E559576B-71D5-4B91-8999-2C5B04ED1187}" destId="{7C21AB10-9B54-4EC3-8533-92A149DF4DA3}" srcOrd="6" destOrd="0" presId="urn:microsoft.com/office/officeart/2005/8/layout/orgChart1"/>
    <dgm:cxn modelId="{74E2DFC4-1196-4E3E-92BB-2194987C3E44}" type="presParOf" srcId="{E559576B-71D5-4B91-8999-2C5B04ED1187}" destId="{38041C86-8210-46EB-8653-8B3B62611E02}" srcOrd="7" destOrd="0" presId="urn:microsoft.com/office/officeart/2005/8/layout/orgChart1"/>
    <dgm:cxn modelId="{B1E184BF-4420-4C5A-9D4F-6075A19B9623}" type="presParOf" srcId="{38041C86-8210-46EB-8653-8B3B62611E02}" destId="{597F9205-C5EF-488A-8DA9-6674FC15E493}" srcOrd="0" destOrd="0" presId="urn:microsoft.com/office/officeart/2005/8/layout/orgChart1"/>
    <dgm:cxn modelId="{C08FFFA7-7299-48DA-87AA-CAC5FC0D050C}" type="presParOf" srcId="{597F9205-C5EF-488A-8DA9-6674FC15E493}" destId="{FB86FDD1-B6B3-47C6-B9E9-B4BE839F8E55}" srcOrd="0" destOrd="0" presId="urn:microsoft.com/office/officeart/2005/8/layout/orgChart1"/>
    <dgm:cxn modelId="{D96BBF7B-34C9-43F5-A72F-D2D95880FCB2}" type="presParOf" srcId="{597F9205-C5EF-488A-8DA9-6674FC15E493}" destId="{DCE2A2CE-F94A-4EF4-9B68-5D1E465D7580}" srcOrd="1" destOrd="0" presId="urn:microsoft.com/office/officeart/2005/8/layout/orgChart1"/>
    <dgm:cxn modelId="{8F391883-0D07-45FB-A372-650AB39FA634}" type="presParOf" srcId="{38041C86-8210-46EB-8653-8B3B62611E02}" destId="{5E3FDB62-C8B0-4BA2-8622-319A35D6EECB}" srcOrd="1" destOrd="0" presId="urn:microsoft.com/office/officeart/2005/8/layout/orgChart1"/>
    <dgm:cxn modelId="{D4C8D952-C0EF-46ED-A368-EB813892C5D8}" type="presParOf" srcId="{5E3FDB62-C8B0-4BA2-8622-319A35D6EECB}" destId="{3BB7D4E8-4C37-4F2A-9C17-4EA9A436BB67}" srcOrd="0" destOrd="0" presId="urn:microsoft.com/office/officeart/2005/8/layout/orgChart1"/>
    <dgm:cxn modelId="{4F805AEE-0E65-4417-A6E9-D4CE4A975AC7}" type="presParOf" srcId="{5E3FDB62-C8B0-4BA2-8622-319A35D6EECB}" destId="{2E3B2B89-0D76-4379-9F35-1408A7498596}" srcOrd="1" destOrd="0" presId="urn:microsoft.com/office/officeart/2005/8/layout/orgChart1"/>
    <dgm:cxn modelId="{B307B152-8CD8-4214-9545-2B3AE9AA08C3}" type="presParOf" srcId="{2E3B2B89-0D76-4379-9F35-1408A7498596}" destId="{E3F2C318-E88B-4F35-8CC8-03C7F96D90C2}" srcOrd="0" destOrd="0" presId="urn:microsoft.com/office/officeart/2005/8/layout/orgChart1"/>
    <dgm:cxn modelId="{088F71C5-BB7D-4C6F-9A46-78EDF90AE2CC}" type="presParOf" srcId="{E3F2C318-E88B-4F35-8CC8-03C7F96D90C2}" destId="{3C41E94A-170F-4BD3-8CF4-A2A0AF817C4E}" srcOrd="0" destOrd="0" presId="urn:microsoft.com/office/officeart/2005/8/layout/orgChart1"/>
    <dgm:cxn modelId="{E09022C2-7B5D-4713-8221-422FE21CC32F}" type="presParOf" srcId="{E3F2C318-E88B-4F35-8CC8-03C7F96D90C2}" destId="{D1F27372-2769-43F8-BC70-49B3223C47AF}" srcOrd="1" destOrd="0" presId="urn:microsoft.com/office/officeart/2005/8/layout/orgChart1"/>
    <dgm:cxn modelId="{A7467C28-D2FE-4807-B52F-07D8FCCC4674}" type="presParOf" srcId="{2E3B2B89-0D76-4379-9F35-1408A7498596}" destId="{EE48E245-39C7-412C-ABD0-C0549F972DD8}" srcOrd="1" destOrd="0" presId="urn:microsoft.com/office/officeart/2005/8/layout/orgChart1"/>
    <dgm:cxn modelId="{2E90AF26-0938-4CB2-A96A-B2594A20A39C}" type="presParOf" srcId="{2E3B2B89-0D76-4379-9F35-1408A7498596}" destId="{B8F1E7A8-1E7A-4E42-B865-EB43A60E344C}" srcOrd="2" destOrd="0" presId="urn:microsoft.com/office/officeart/2005/8/layout/orgChart1"/>
    <dgm:cxn modelId="{4CB22CF1-5536-4452-8DD6-D3097C25A1CB}" type="presParOf" srcId="{5E3FDB62-C8B0-4BA2-8622-319A35D6EECB}" destId="{E351C686-F9C4-4A90-AEF1-5DD15143AEBA}" srcOrd="2" destOrd="0" presId="urn:microsoft.com/office/officeart/2005/8/layout/orgChart1"/>
    <dgm:cxn modelId="{C76D35DE-7BE0-4D5C-8145-14D6EEC81467}" type="presParOf" srcId="{5E3FDB62-C8B0-4BA2-8622-319A35D6EECB}" destId="{BCE9F3B2-F045-4302-B73A-7D3B52ADCFA1}" srcOrd="3" destOrd="0" presId="urn:microsoft.com/office/officeart/2005/8/layout/orgChart1"/>
    <dgm:cxn modelId="{AD66D8CF-0BFF-47CD-B9F4-03D6AD66C126}" type="presParOf" srcId="{BCE9F3B2-F045-4302-B73A-7D3B52ADCFA1}" destId="{AA530DC9-BA60-4064-85D0-60EE59EC927A}" srcOrd="0" destOrd="0" presId="urn:microsoft.com/office/officeart/2005/8/layout/orgChart1"/>
    <dgm:cxn modelId="{16D39845-6F9E-4783-AEBE-1C52B4EA335C}" type="presParOf" srcId="{AA530DC9-BA60-4064-85D0-60EE59EC927A}" destId="{440A4134-CFEC-4CDD-BC7B-79F5B7714652}" srcOrd="0" destOrd="0" presId="urn:microsoft.com/office/officeart/2005/8/layout/orgChart1"/>
    <dgm:cxn modelId="{75D08153-9C7B-4274-9837-EB8A4AE0E67C}" type="presParOf" srcId="{AA530DC9-BA60-4064-85D0-60EE59EC927A}" destId="{27E2C445-D482-489A-AF6E-7343BCB906D6}" srcOrd="1" destOrd="0" presId="urn:microsoft.com/office/officeart/2005/8/layout/orgChart1"/>
    <dgm:cxn modelId="{B583E27B-AFE0-485D-AC53-FB64B860C5F0}" type="presParOf" srcId="{BCE9F3B2-F045-4302-B73A-7D3B52ADCFA1}" destId="{421F2A54-2C83-4BE6-A5A4-EDDA818DE413}" srcOrd="1" destOrd="0" presId="urn:microsoft.com/office/officeart/2005/8/layout/orgChart1"/>
    <dgm:cxn modelId="{7B048F59-602D-457C-9040-86B11089BB0B}" type="presParOf" srcId="{BCE9F3B2-F045-4302-B73A-7D3B52ADCFA1}" destId="{DF88777D-7774-4771-BA3F-2090EE2855A4}" srcOrd="2" destOrd="0" presId="urn:microsoft.com/office/officeart/2005/8/layout/orgChart1"/>
    <dgm:cxn modelId="{63B028C1-03C2-464A-A589-EBC26A628AD3}" type="presParOf" srcId="{38041C86-8210-46EB-8653-8B3B62611E02}" destId="{74323402-C73B-42EA-95EF-B09E2A02E212}" srcOrd="2" destOrd="0" presId="urn:microsoft.com/office/officeart/2005/8/layout/orgChart1"/>
    <dgm:cxn modelId="{AA1D50F9-7D8B-4FDA-95CB-00BA3EE17D23}" type="presParOf" srcId="{E559576B-71D5-4B91-8999-2C5B04ED1187}" destId="{17536D45-B3C6-46A3-A25F-8CDD5BBA939B}" srcOrd="8" destOrd="0" presId="urn:microsoft.com/office/officeart/2005/8/layout/orgChart1"/>
    <dgm:cxn modelId="{275CFDDB-CDEC-4388-8669-B8522035607E}" type="presParOf" srcId="{E559576B-71D5-4B91-8999-2C5B04ED1187}" destId="{F25B2A85-49C3-4B23-864C-58EC489629F8}" srcOrd="9" destOrd="0" presId="urn:microsoft.com/office/officeart/2005/8/layout/orgChart1"/>
    <dgm:cxn modelId="{7B85F92D-98C1-4DB8-97EC-36D60AA21B90}" type="presParOf" srcId="{F25B2A85-49C3-4B23-864C-58EC489629F8}" destId="{8D7A5C94-331A-4742-9913-9ED9628FB1DE}" srcOrd="0" destOrd="0" presId="urn:microsoft.com/office/officeart/2005/8/layout/orgChart1"/>
    <dgm:cxn modelId="{A8A435C9-9EF8-4011-BABD-36C85E894A5A}" type="presParOf" srcId="{8D7A5C94-331A-4742-9913-9ED9628FB1DE}" destId="{5865C308-333B-4634-8FBE-B9B69DBEE4F6}" srcOrd="0" destOrd="0" presId="urn:microsoft.com/office/officeart/2005/8/layout/orgChart1"/>
    <dgm:cxn modelId="{2C583CAA-D9FC-4D3B-A183-850281141039}" type="presParOf" srcId="{8D7A5C94-331A-4742-9913-9ED9628FB1DE}" destId="{C7965BE6-598A-44BE-87FA-9F52CC57979C}" srcOrd="1" destOrd="0" presId="urn:microsoft.com/office/officeart/2005/8/layout/orgChart1"/>
    <dgm:cxn modelId="{E1AD4D20-CF7A-4A14-B041-FA13D0A6EBED}" type="presParOf" srcId="{F25B2A85-49C3-4B23-864C-58EC489629F8}" destId="{2E3A92CE-6A5B-4FCE-A513-0CCC2ED22309}" srcOrd="1" destOrd="0" presId="urn:microsoft.com/office/officeart/2005/8/layout/orgChart1"/>
    <dgm:cxn modelId="{474914F2-4C03-476C-BD78-6DCA5D3DE1DD}" type="presParOf" srcId="{2E3A92CE-6A5B-4FCE-A513-0CCC2ED22309}" destId="{97C3176E-84C3-4FEA-AF47-48F87BC7CD93}" srcOrd="0" destOrd="0" presId="urn:microsoft.com/office/officeart/2005/8/layout/orgChart1"/>
    <dgm:cxn modelId="{B50E5299-5600-421E-887E-859558E5E344}" type="presParOf" srcId="{2E3A92CE-6A5B-4FCE-A513-0CCC2ED22309}" destId="{D0E6148A-83FD-443D-87D9-675519172B78}" srcOrd="1" destOrd="0" presId="urn:microsoft.com/office/officeart/2005/8/layout/orgChart1"/>
    <dgm:cxn modelId="{FA1978C7-4B08-4F97-AD35-B1752B23BE20}" type="presParOf" srcId="{D0E6148A-83FD-443D-87D9-675519172B78}" destId="{80A83771-B436-4566-A56B-8D754F011917}" srcOrd="0" destOrd="0" presId="urn:microsoft.com/office/officeart/2005/8/layout/orgChart1"/>
    <dgm:cxn modelId="{24B1F046-47B9-4BED-9843-C81850015E23}" type="presParOf" srcId="{80A83771-B436-4566-A56B-8D754F011917}" destId="{05163EB1-B59B-4815-95FA-406D2336712B}" srcOrd="0" destOrd="0" presId="urn:microsoft.com/office/officeart/2005/8/layout/orgChart1"/>
    <dgm:cxn modelId="{04DCA1DD-F4D0-4B61-8FAF-7736DA9045FA}" type="presParOf" srcId="{80A83771-B436-4566-A56B-8D754F011917}" destId="{6F204DF0-0050-4AB1-B1EC-3528AF99134F}" srcOrd="1" destOrd="0" presId="urn:microsoft.com/office/officeart/2005/8/layout/orgChart1"/>
    <dgm:cxn modelId="{77DA25F8-A9FA-406F-B448-00D45083D5BD}" type="presParOf" srcId="{D0E6148A-83FD-443D-87D9-675519172B78}" destId="{E7A0FE0B-77FC-4F01-9EFD-20B4AF5E9073}" srcOrd="1" destOrd="0" presId="urn:microsoft.com/office/officeart/2005/8/layout/orgChart1"/>
    <dgm:cxn modelId="{4588F480-B05B-4550-891B-6E74036EE051}" type="presParOf" srcId="{D0E6148A-83FD-443D-87D9-675519172B78}" destId="{868651CE-B3C5-4900-8A31-ED2AC8A9CE16}" srcOrd="2" destOrd="0" presId="urn:microsoft.com/office/officeart/2005/8/layout/orgChart1"/>
    <dgm:cxn modelId="{5BB5B417-C8D3-4B31-8A73-03BC8E93121B}" type="presParOf" srcId="{F25B2A85-49C3-4B23-864C-58EC489629F8}" destId="{EF673E2A-3640-499C-AA8A-7351D3FA3973}" srcOrd="2" destOrd="0" presId="urn:microsoft.com/office/officeart/2005/8/layout/orgChart1"/>
    <dgm:cxn modelId="{4F8B8E56-CDE2-4B43-8F38-A5D18849690E}" type="presParOf" srcId="{E559576B-71D5-4B91-8999-2C5B04ED1187}" destId="{3EFA7296-F759-4618-B279-B9913DB24A50}" srcOrd="10" destOrd="0" presId="urn:microsoft.com/office/officeart/2005/8/layout/orgChart1"/>
    <dgm:cxn modelId="{B9291081-8CBB-4D6D-B428-395B3FC76233}" type="presParOf" srcId="{E559576B-71D5-4B91-8999-2C5B04ED1187}" destId="{B583B18D-E9B4-49D5-B2A8-1122FA5916AD}" srcOrd="11" destOrd="0" presId="urn:microsoft.com/office/officeart/2005/8/layout/orgChart1"/>
    <dgm:cxn modelId="{CE452644-52FD-4140-8A73-DC43178F30F9}" type="presParOf" srcId="{B583B18D-E9B4-49D5-B2A8-1122FA5916AD}" destId="{18460481-587C-4BC9-9289-8E2382B5C069}" srcOrd="0" destOrd="0" presId="urn:microsoft.com/office/officeart/2005/8/layout/orgChart1"/>
    <dgm:cxn modelId="{94B0BF53-9291-450C-8665-075785C7E480}" type="presParOf" srcId="{18460481-587C-4BC9-9289-8E2382B5C069}" destId="{FC8627F0-AFB6-4605-97E1-0F7FC2B2CB21}" srcOrd="0" destOrd="0" presId="urn:microsoft.com/office/officeart/2005/8/layout/orgChart1"/>
    <dgm:cxn modelId="{FB8C1AE1-0B0C-4E84-ABB4-718EDF5796ED}" type="presParOf" srcId="{18460481-587C-4BC9-9289-8E2382B5C069}" destId="{0DFE77B0-4114-42BE-87B7-C67CCA74B889}" srcOrd="1" destOrd="0" presId="urn:microsoft.com/office/officeart/2005/8/layout/orgChart1"/>
    <dgm:cxn modelId="{3B15850A-7DB4-4D25-828F-CD705FE0C84F}" type="presParOf" srcId="{B583B18D-E9B4-49D5-B2A8-1122FA5916AD}" destId="{B59C150F-E619-45AC-A10C-6E6809274110}" srcOrd="1" destOrd="0" presId="urn:microsoft.com/office/officeart/2005/8/layout/orgChart1"/>
    <dgm:cxn modelId="{10DB76D5-FF5B-4366-9184-78FBED7F6E3A}" type="presParOf" srcId="{B59C150F-E619-45AC-A10C-6E6809274110}" destId="{020CE435-A61F-4C42-8709-8B1794D2D0CF}" srcOrd="0" destOrd="0" presId="urn:microsoft.com/office/officeart/2005/8/layout/orgChart1"/>
    <dgm:cxn modelId="{51A361E8-339B-48FA-BA90-489BDF55FD43}" type="presParOf" srcId="{B59C150F-E619-45AC-A10C-6E6809274110}" destId="{F5D30293-E977-467C-BA58-CD95D3C4F419}" srcOrd="1" destOrd="0" presId="urn:microsoft.com/office/officeart/2005/8/layout/orgChart1"/>
    <dgm:cxn modelId="{06E9E617-EAD6-4495-9F5A-36554D95F025}" type="presParOf" srcId="{F5D30293-E977-467C-BA58-CD95D3C4F419}" destId="{60FB1168-9708-4F02-99F3-80C455CEE58E}" srcOrd="0" destOrd="0" presId="urn:microsoft.com/office/officeart/2005/8/layout/orgChart1"/>
    <dgm:cxn modelId="{55EB8E34-D8C5-48E0-9880-919802EB3BF2}" type="presParOf" srcId="{60FB1168-9708-4F02-99F3-80C455CEE58E}" destId="{027A3315-4B4D-4DC2-879B-12660FDE7619}" srcOrd="0" destOrd="0" presId="urn:microsoft.com/office/officeart/2005/8/layout/orgChart1"/>
    <dgm:cxn modelId="{76FBCE3F-7EE3-4F2A-B054-EE6AB5699BDB}" type="presParOf" srcId="{60FB1168-9708-4F02-99F3-80C455CEE58E}" destId="{9317F8B7-33A0-4E14-AE18-486A703F8373}" srcOrd="1" destOrd="0" presId="urn:microsoft.com/office/officeart/2005/8/layout/orgChart1"/>
    <dgm:cxn modelId="{A416491B-4D25-463A-958D-5E1DD8EABC15}" type="presParOf" srcId="{F5D30293-E977-467C-BA58-CD95D3C4F419}" destId="{2B69BE16-A326-4596-B50E-FF0D4D236447}" srcOrd="1" destOrd="0" presId="urn:microsoft.com/office/officeart/2005/8/layout/orgChart1"/>
    <dgm:cxn modelId="{9749AD94-C4A7-42E7-A6A1-602D1273A4A8}" type="presParOf" srcId="{F5D30293-E977-467C-BA58-CD95D3C4F419}" destId="{2882766B-D0DD-4589-89E7-5AD1E0A98AC1}" srcOrd="2" destOrd="0" presId="urn:microsoft.com/office/officeart/2005/8/layout/orgChart1"/>
    <dgm:cxn modelId="{90FBD9B7-CD08-47A0-A5F2-B481FF93F7B0}" type="presParOf" srcId="{B583B18D-E9B4-49D5-B2A8-1122FA5916AD}" destId="{070DD53F-6276-4938-8393-70F6E3B936BE}" srcOrd="2" destOrd="0" presId="urn:microsoft.com/office/officeart/2005/8/layout/orgChart1"/>
    <dgm:cxn modelId="{26A0B43D-DE2F-42B5-8A03-479D76BE3918}" type="presParOf" srcId="{E559576B-71D5-4B91-8999-2C5B04ED1187}" destId="{87F05226-475E-44E2-A4D8-B10DF45DF306}" srcOrd="12" destOrd="0" presId="urn:microsoft.com/office/officeart/2005/8/layout/orgChart1"/>
    <dgm:cxn modelId="{FC00C1F7-63BF-49AC-B40E-D5AC297A619B}" type="presParOf" srcId="{E559576B-71D5-4B91-8999-2C5B04ED1187}" destId="{9AECD9DC-6ACF-484A-8820-E084C1E7487F}" srcOrd="13" destOrd="0" presId="urn:microsoft.com/office/officeart/2005/8/layout/orgChart1"/>
    <dgm:cxn modelId="{2198DB3A-5C39-41B1-8C36-EF408EC3B279}" type="presParOf" srcId="{9AECD9DC-6ACF-484A-8820-E084C1E7487F}" destId="{077098BE-557D-4878-B0F6-3695FB064502}" srcOrd="0" destOrd="0" presId="urn:microsoft.com/office/officeart/2005/8/layout/orgChart1"/>
    <dgm:cxn modelId="{4B13A93A-C447-479D-906A-8673DCCAE379}" type="presParOf" srcId="{077098BE-557D-4878-B0F6-3695FB064502}" destId="{F0FB213F-3C78-426C-982C-39F60FACED1D}" srcOrd="0" destOrd="0" presId="urn:microsoft.com/office/officeart/2005/8/layout/orgChart1"/>
    <dgm:cxn modelId="{10590101-D286-43BD-972A-E41E7886B567}" type="presParOf" srcId="{077098BE-557D-4878-B0F6-3695FB064502}" destId="{EB025839-41DC-4E29-8EFC-74DDB807FDF1}" srcOrd="1" destOrd="0" presId="urn:microsoft.com/office/officeart/2005/8/layout/orgChart1"/>
    <dgm:cxn modelId="{1F5C8F6F-AEF2-4F55-A979-3F74FF3E30A9}" type="presParOf" srcId="{9AECD9DC-6ACF-484A-8820-E084C1E7487F}" destId="{8C2F877F-B4E9-4807-A45D-528D727FEA9A}" srcOrd="1" destOrd="0" presId="urn:microsoft.com/office/officeart/2005/8/layout/orgChart1"/>
    <dgm:cxn modelId="{0914A652-6355-46B8-A7E8-20B5F6352000}" type="presParOf" srcId="{8C2F877F-B4E9-4807-A45D-528D727FEA9A}" destId="{545B3140-5C91-4781-8AA9-0EF824C61331}" srcOrd="0" destOrd="0" presId="urn:microsoft.com/office/officeart/2005/8/layout/orgChart1"/>
    <dgm:cxn modelId="{ECBC4130-4400-4092-BD63-32C327031CE3}" type="presParOf" srcId="{8C2F877F-B4E9-4807-A45D-528D727FEA9A}" destId="{503728FA-5CE0-41F2-B5EF-D3CEA4F1F5A1}" srcOrd="1" destOrd="0" presId="urn:microsoft.com/office/officeart/2005/8/layout/orgChart1"/>
    <dgm:cxn modelId="{DCC9BE1A-1DF7-4B53-97C3-6B6F06F68407}" type="presParOf" srcId="{503728FA-5CE0-41F2-B5EF-D3CEA4F1F5A1}" destId="{9B4F6C37-637C-4140-87D9-B7A79CB09D1D}" srcOrd="0" destOrd="0" presId="urn:microsoft.com/office/officeart/2005/8/layout/orgChart1"/>
    <dgm:cxn modelId="{CA39BFFC-4E0B-4FBE-8AA7-6D2F1A05F3CD}" type="presParOf" srcId="{9B4F6C37-637C-4140-87D9-B7A79CB09D1D}" destId="{6A9F2864-9B9D-4F04-98C4-0C292AD4F3E2}" srcOrd="0" destOrd="0" presId="urn:microsoft.com/office/officeart/2005/8/layout/orgChart1"/>
    <dgm:cxn modelId="{79B3489D-563F-4CC8-A526-19FE29A7A39E}" type="presParOf" srcId="{9B4F6C37-637C-4140-87D9-B7A79CB09D1D}" destId="{4B7E8BEB-F725-4435-9F30-1F4DAFF74D8E}" srcOrd="1" destOrd="0" presId="urn:microsoft.com/office/officeart/2005/8/layout/orgChart1"/>
    <dgm:cxn modelId="{D6DC93A2-D482-4207-9153-85717CD08091}" type="presParOf" srcId="{503728FA-5CE0-41F2-B5EF-D3CEA4F1F5A1}" destId="{4E0BD934-842F-428E-B962-D8490FF91374}" srcOrd="1" destOrd="0" presId="urn:microsoft.com/office/officeart/2005/8/layout/orgChart1"/>
    <dgm:cxn modelId="{BB9C70C4-CC21-4610-A6C1-ED137974A2F7}" type="presParOf" srcId="{503728FA-5CE0-41F2-B5EF-D3CEA4F1F5A1}" destId="{C23BA119-B815-4661-BE87-7F5FEDAFA573}" srcOrd="2" destOrd="0" presId="urn:microsoft.com/office/officeart/2005/8/layout/orgChart1"/>
    <dgm:cxn modelId="{3A6BA2D6-BEBE-4F6B-AB6A-E17B2CD16D44}" type="presParOf" srcId="{9AECD9DC-6ACF-484A-8820-E084C1E7487F}" destId="{3BB0F5B9-0B7B-42A1-94A8-EB49DA018E99}" srcOrd="2" destOrd="0" presId="urn:microsoft.com/office/officeart/2005/8/layout/orgChart1"/>
    <dgm:cxn modelId="{63712ED9-A42A-4671-91E9-54B134EF6D5A}" type="presParOf" srcId="{572E6940-EA9A-48C2-9F8C-BC5B770D9E07}" destId="{C8CFFACC-7584-4612-B425-5F0CE9EC3460}" srcOrd="2" destOrd="0" presId="urn:microsoft.com/office/officeart/2005/8/layout/orgChart1"/>
    <dgm:cxn modelId="{6C818376-D185-4BFD-9AA5-EABDC4DFEB06}" type="presParOf" srcId="{C8CFFACC-7584-4612-B425-5F0CE9EC3460}" destId="{9E50E335-4330-44F2-95B4-76069E117162}" srcOrd="0" destOrd="0" presId="urn:microsoft.com/office/officeart/2005/8/layout/orgChart1"/>
    <dgm:cxn modelId="{715641E8-486D-498C-9ED0-6C28ADB878DA}" type="presParOf" srcId="{C8CFFACC-7584-4612-B425-5F0CE9EC3460}" destId="{A39AF63D-5D62-40C3-959F-2CDEC36D037A}" srcOrd="1" destOrd="0" presId="urn:microsoft.com/office/officeart/2005/8/layout/orgChart1"/>
    <dgm:cxn modelId="{FB131865-19F1-4193-ACB9-C6DFC663E886}" type="presParOf" srcId="{A39AF63D-5D62-40C3-959F-2CDEC36D037A}" destId="{D4979A5A-043F-4B66-BF99-3F696B50EB99}" srcOrd="0" destOrd="0" presId="urn:microsoft.com/office/officeart/2005/8/layout/orgChart1"/>
    <dgm:cxn modelId="{4C2F1E1C-DC76-45FC-BEFC-7135796E8D0C}" type="presParOf" srcId="{D4979A5A-043F-4B66-BF99-3F696B50EB99}" destId="{AD431767-0ECF-401B-9D90-E62A20B1B676}" srcOrd="0" destOrd="0" presId="urn:microsoft.com/office/officeart/2005/8/layout/orgChart1"/>
    <dgm:cxn modelId="{96A91CAF-376C-41B1-A190-68F9B7849889}" type="presParOf" srcId="{D4979A5A-043F-4B66-BF99-3F696B50EB99}" destId="{29EF2FCF-440A-4319-B62E-DE6AC7D383FA}" srcOrd="1" destOrd="0" presId="urn:microsoft.com/office/officeart/2005/8/layout/orgChart1"/>
    <dgm:cxn modelId="{625BCE8E-AFA7-48E1-933A-3B2774DD6C70}" type="presParOf" srcId="{A39AF63D-5D62-40C3-959F-2CDEC36D037A}" destId="{91929580-31BA-46A2-A13D-5C3B9D831939}" srcOrd="1" destOrd="0" presId="urn:microsoft.com/office/officeart/2005/8/layout/orgChart1"/>
    <dgm:cxn modelId="{97B4D85A-5ECA-43DE-8701-615186BA8AB7}" type="presParOf" srcId="{A39AF63D-5D62-40C3-959F-2CDEC36D037A}" destId="{8AD61871-9DF8-4EE7-906B-D8AE701091ED}" srcOrd="2" destOrd="0" presId="urn:microsoft.com/office/officeart/2005/8/layout/orgChart1"/>
    <dgm:cxn modelId="{E414A6F6-3A4C-4DA7-8106-C63825353714}" type="presParOf" srcId="{C8CFFACC-7584-4612-B425-5F0CE9EC3460}" destId="{AF3E47E0-0914-44FA-BDCA-0D1A286F2739}" srcOrd="2" destOrd="0" presId="urn:microsoft.com/office/officeart/2005/8/layout/orgChart1"/>
    <dgm:cxn modelId="{D35D9545-E8D5-472E-8772-85FD0BFBE167}" type="presParOf" srcId="{C8CFFACC-7584-4612-B425-5F0CE9EC3460}" destId="{8560E76B-0420-4120-A476-CAAD4CAE9DD6}" srcOrd="3" destOrd="0" presId="urn:microsoft.com/office/officeart/2005/8/layout/orgChart1"/>
    <dgm:cxn modelId="{372AAF7D-9387-4D35-9247-0ABFD660B688}" type="presParOf" srcId="{8560E76B-0420-4120-A476-CAAD4CAE9DD6}" destId="{C1737F21-A765-440C-A79D-23F577F88401}" srcOrd="0" destOrd="0" presId="urn:microsoft.com/office/officeart/2005/8/layout/orgChart1"/>
    <dgm:cxn modelId="{AA9709A6-AAA0-41F3-82AF-8F8AD209E8C8}" type="presParOf" srcId="{C1737F21-A765-440C-A79D-23F577F88401}" destId="{ADCD91CE-C780-40A2-9D3A-F8C691A7CFDF}" srcOrd="0" destOrd="0" presId="urn:microsoft.com/office/officeart/2005/8/layout/orgChart1"/>
    <dgm:cxn modelId="{6B0B7273-2B36-405E-94A1-2124D8EC420C}" type="presParOf" srcId="{C1737F21-A765-440C-A79D-23F577F88401}" destId="{8FB88FA2-254A-4252-AD3B-B8D721806D80}" srcOrd="1" destOrd="0" presId="urn:microsoft.com/office/officeart/2005/8/layout/orgChart1"/>
    <dgm:cxn modelId="{3A3C6F70-BE28-423B-9C0E-9BB9DA7E0F3F}" type="presParOf" srcId="{8560E76B-0420-4120-A476-CAAD4CAE9DD6}" destId="{9248D199-D21D-453D-AAFE-EDDF023E4F54}" srcOrd="1" destOrd="0" presId="urn:microsoft.com/office/officeart/2005/8/layout/orgChart1"/>
    <dgm:cxn modelId="{F8C214C1-512A-4575-ADEE-20F0550F2155}" type="presParOf" srcId="{8560E76B-0420-4120-A476-CAAD4CAE9DD6}" destId="{F56B0A6D-20B3-44EA-AC8A-34C9AAB17605}" srcOrd="2" destOrd="0" presId="urn:microsoft.com/office/officeart/2005/8/layout/orgChart1"/>
    <dgm:cxn modelId="{A939DB71-E480-4568-9751-807D2CEA7749}" type="presParOf" srcId="{C8CFFACC-7584-4612-B425-5F0CE9EC3460}" destId="{FAAE23C0-025D-41E6-8109-2340403CEAAE}" srcOrd="4" destOrd="0" presId="urn:microsoft.com/office/officeart/2005/8/layout/orgChart1"/>
    <dgm:cxn modelId="{2EF46062-32B2-4387-999C-66D504FC8A52}" type="presParOf" srcId="{C8CFFACC-7584-4612-B425-5F0CE9EC3460}" destId="{5FD9ECA9-8D5C-409F-94E1-16C54813728E}" srcOrd="5" destOrd="0" presId="urn:microsoft.com/office/officeart/2005/8/layout/orgChart1"/>
    <dgm:cxn modelId="{12250EF5-D604-4492-983C-5246D371311A}" type="presParOf" srcId="{5FD9ECA9-8D5C-409F-94E1-16C54813728E}" destId="{1A506E63-087F-4CD8-B812-EFC27FCE9CBB}" srcOrd="0" destOrd="0" presId="urn:microsoft.com/office/officeart/2005/8/layout/orgChart1"/>
    <dgm:cxn modelId="{E0CA238E-4B91-40C2-90DC-482DD83AA3DA}" type="presParOf" srcId="{1A506E63-087F-4CD8-B812-EFC27FCE9CBB}" destId="{4D469C14-18CE-438E-B115-66456325B961}" srcOrd="0" destOrd="0" presId="urn:microsoft.com/office/officeart/2005/8/layout/orgChart1"/>
    <dgm:cxn modelId="{FB33C498-6E2C-41BE-8D39-A3EF18D685A2}" type="presParOf" srcId="{1A506E63-087F-4CD8-B812-EFC27FCE9CBB}" destId="{EBAA779A-7665-47C5-A75F-52130FCAC2BF}" srcOrd="1" destOrd="0" presId="urn:microsoft.com/office/officeart/2005/8/layout/orgChart1"/>
    <dgm:cxn modelId="{E27E0E15-BB2F-4632-A4AB-14FFF8187C8A}" type="presParOf" srcId="{5FD9ECA9-8D5C-409F-94E1-16C54813728E}" destId="{420DE2C5-C33B-4D7E-A771-44FE430EBA65}" srcOrd="1" destOrd="0" presId="urn:microsoft.com/office/officeart/2005/8/layout/orgChart1"/>
    <dgm:cxn modelId="{2637E236-43F7-4487-97A6-04D24CE603F5}" type="presParOf" srcId="{5FD9ECA9-8D5C-409F-94E1-16C54813728E}" destId="{EB30DE52-40B3-4E8C-89A5-BD3A5852AEAF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E92ECC0-0B6D-432E-99B4-035EE6990687}">
      <dsp:nvSpPr>
        <dsp:cNvPr id="0" name=""/>
        <dsp:cNvSpPr/>
      </dsp:nvSpPr>
      <dsp:spPr>
        <a:xfrm>
          <a:off x="3200400" y="941404"/>
          <a:ext cx="2744703" cy="1905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5270"/>
              </a:lnTo>
              <a:lnTo>
                <a:pt x="2744703" y="95270"/>
              </a:lnTo>
              <a:lnTo>
                <a:pt x="2744703" y="19054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AF4CF3F-413E-4BE3-8029-ADEEFF361E1F}">
      <dsp:nvSpPr>
        <dsp:cNvPr id="0" name=""/>
        <dsp:cNvSpPr/>
      </dsp:nvSpPr>
      <dsp:spPr>
        <a:xfrm>
          <a:off x="3200400" y="941404"/>
          <a:ext cx="1646822" cy="1905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5270"/>
              </a:lnTo>
              <a:lnTo>
                <a:pt x="1646822" y="95270"/>
              </a:lnTo>
              <a:lnTo>
                <a:pt x="1646822" y="19054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FE79AE0-EF6A-49DF-A798-AD57277DB041}">
      <dsp:nvSpPr>
        <dsp:cNvPr id="0" name=""/>
        <dsp:cNvSpPr/>
      </dsp:nvSpPr>
      <dsp:spPr>
        <a:xfrm>
          <a:off x="3200400" y="941404"/>
          <a:ext cx="548940" cy="1905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5270"/>
              </a:lnTo>
              <a:lnTo>
                <a:pt x="548940" y="95270"/>
              </a:lnTo>
              <a:lnTo>
                <a:pt x="548940" y="19054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17F332E-7C61-4E40-8AE9-1B0A5C91EAFC}">
      <dsp:nvSpPr>
        <dsp:cNvPr id="0" name=""/>
        <dsp:cNvSpPr/>
      </dsp:nvSpPr>
      <dsp:spPr>
        <a:xfrm>
          <a:off x="2651459" y="941404"/>
          <a:ext cx="548940" cy="190541"/>
        </a:xfrm>
        <a:custGeom>
          <a:avLst/>
          <a:gdLst/>
          <a:ahLst/>
          <a:cxnLst/>
          <a:rect l="0" t="0" r="0" b="0"/>
          <a:pathLst>
            <a:path>
              <a:moveTo>
                <a:pt x="548940" y="0"/>
              </a:moveTo>
              <a:lnTo>
                <a:pt x="548940" y="95270"/>
              </a:lnTo>
              <a:lnTo>
                <a:pt x="0" y="95270"/>
              </a:lnTo>
              <a:lnTo>
                <a:pt x="0" y="19054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4DACFD2-55AF-48D2-A817-0621A1A13B01}">
      <dsp:nvSpPr>
        <dsp:cNvPr id="0" name=""/>
        <dsp:cNvSpPr/>
      </dsp:nvSpPr>
      <dsp:spPr>
        <a:xfrm>
          <a:off x="1553577" y="941404"/>
          <a:ext cx="1646822" cy="190541"/>
        </a:xfrm>
        <a:custGeom>
          <a:avLst/>
          <a:gdLst/>
          <a:ahLst/>
          <a:cxnLst/>
          <a:rect l="0" t="0" r="0" b="0"/>
          <a:pathLst>
            <a:path>
              <a:moveTo>
                <a:pt x="1646822" y="0"/>
              </a:moveTo>
              <a:lnTo>
                <a:pt x="1646822" y="95270"/>
              </a:lnTo>
              <a:lnTo>
                <a:pt x="0" y="95270"/>
              </a:lnTo>
              <a:lnTo>
                <a:pt x="0" y="19054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A742CB-C3FD-493B-BE01-55FB0B6BEA54}">
      <dsp:nvSpPr>
        <dsp:cNvPr id="0" name=""/>
        <dsp:cNvSpPr/>
      </dsp:nvSpPr>
      <dsp:spPr>
        <a:xfrm>
          <a:off x="455696" y="941404"/>
          <a:ext cx="2744703" cy="190541"/>
        </a:xfrm>
        <a:custGeom>
          <a:avLst/>
          <a:gdLst/>
          <a:ahLst/>
          <a:cxnLst/>
          <a:rect l="0" t="0" r="0" b="0"/>
          <a:pathLst>
            <a:path>
              <a:moveTo>
                <a:pt x="2744703" y="0"/>
              </a:moveTo>
              <a:lnTo>
                <a:pt x="2744703" y="95270"/>
              </a:lnTo>
              <a:lnTo>
                <a:pt x="0" y="95270"/>
              </a:lnTo>
              <a:lnTo>
                <a:pt x="0" y="19054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268BD8C-6918-47EB-8D8A-2A7DA23D2730}">
      <dsp:nvSpPr>
        <dsp:cNvPr id="0" name=""/>
        <dsp:cNvSpPr/>
      </dsp:nvSpPr>
      <dsp:spPr>
        <a:xfrm>
          <a:off x="2746730" y="487734"/>
          <a:ext cx="907339" cy="45366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1100" kern="1200" dirty="0" smtClean="0"/>
            <a:t>OBT PM</a:t>
          </a:r>
          <a:endParaRPr lang="en-US" sz="1100" kern="1200" dirty="0"/>
        </a:p>
      </dsp:txBody>
      <dsp:txXfrm>
        <a:off x="2746730" y="487734"/>
        <a:ext cx="907339" cy="453669"/>
      </dsp:txXfrm>
    </dsp:sp>
    <dsp:sp modelId="{4C3D0FC5-BE89-4D18-A9AA-EFAFD1C54303}">
      <dsp:nvSpPr>
        <dsp:cNvPr id="0" name=""/>
        <dsp:cNvSpPr/>
      </dsp:nvSpPr>
      <dsp:spPr>
        <a:xfrm>
          <a:off x="2026" y="1131945"/>
          <a:ext cx="907339" cy="45366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1100" kern="1200" dirty="0" smtClean="0"/>
            <a:t>SW Project Architect</a:t>
          </a:r>
          <a:endParaRPr lang="en-US" sz="1100" kern="1200" dirty="0"/>
        </a:p>
      </dsp:txBody>
      <dsp:txXfrm>
        <a:off x="2026" y="1131945"/>
        <a:ext cx="907339" cy="453669"/>
      </dsp:txXfrm>
    </dsp:sp>
    <dsp:sp modelId="{7143D64A-20B5-4520-9002-42791575BF9C}">
      <dsp:nvSpPr>
        <dsp:cNvPr id="0" name=""/>
        <dsp:cNvSpPr/>
      </dsp:nvSpPr>
      <dsp:spPr>
        <a:xfrm>
          <a:off x="1099907" y="1131945"/>
          <a:ext cx="907339" cy="45366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1100" kern="1200" dirty="0" smtClean="0"/>
            <a:t>Project Verification Leader</a:t>
          </a:r>
          <a:endParaRPr lang="en-US" sz="1100" kern="1200" dirty="0"/>
        </a:p>
      </dsp:txBody>
      <dsp:txXfrm>
        <a:off x="1099907" y="1131945"/>
        <a:ext cx="907339" cy="453669"/>
      </dsp:txXfrm>
    </dsp:sp>
    <dsp:sp modelId="{6C9B2FF6-4AEC-4AA1-9F80-595AB4C2B244}">
      <dsp:nvSpPr>
        <dsp:cNvPr id="0" name=""/>
        <dsp:cNvSpPr/>
      </dsp:nvSpPr>
      <dsp:spPr>
        <a:xfrm>
          <a:off x="2197789" y="1131945"/>
          <a:ext cx="907339" cy="45366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1100" kern="1200" dirty="0" smtClean="0"/>
            <a:t>System Leader</a:t>
          </a:r>
          <a:endParaRPr lang="en-US" sz="1100" kern="1200" dirty="0"/>
        </a:p>
      </dsp:txBody>
      <dsp:txXfrm>
        <a:off x="2197789" y="1131945"/>
        <a:ext cx="907339" cy="453669"/>
      </dsp:txXfrm>
    </dsp:sp>
    <dsp:sp modelId="{525DB26E-E1C1-4751-832D-8C876281DCE0}">
      <dsp:nvSpPr>
        <dsp:cNvPr id="0" name=""/>
        <dsp:cNvSpPr/>
      </dsp:nvSpPr>
      <dsp:spPr>
        <a:xfrm>
          <a:off x="3295670" y="1131945"/>
          <a:ext cx="907339" cy="45366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1100" kern="1200" dirty="0" smtClean="0"/>
            <a:t>Function owner</a:t>
          </a:r>
          <a:endParaRPr lang="en-US" sz="1100" kern="1200" dirty="0"/>
        </a:p>
      </dsp:txBody>
      <dsp:txXfrm>
        <a:off x="3295670" y="1131945"/>
        <a:ext cx="907339" cy="453669"/>
      </dsp:txXfrm>
    </dsp:sp>
    <dsp:sp modelId="{4EC31D86-D855-42B3-A629-4F4F0354BB8E}">
      <dsp:nvSpPr>
        <dsp:cNvPr id="0" name=""/>
        <dsp:cNvSpPr/>
      </dsp:nvSpPr>
      <dsp:spPr>
        <a:xfrm>
          <a:off x="4393552" y="1131945"/>
          <a:ext cx="907339" cy="45366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  <a:prstDash val="lgDash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1100" kern="1200" dirty="0" smtClean="0"/>
            <a:t>Technical Leader</a:t>
          </a:r>
          <a:endParaRPr lang="en-US" sz="1100" kern="1200" dirty="0"/>
        </a:p>
      </dsp:txBody>
      <dsp:txXfrm>
        <a:off x="4393552" y="1131945"/>
        <a:ext cx="907339" cy="453669"/>
      </dsp:txXfrm>
    </dsp:sp>
    <dsp:sp modelId="{BE7B1FFA-5724-4CA1-941B-F4A66078361F}">
      <dsp:nvSpPr>
        <dsp:cNvPr id="0" name=""/>
        <dsp:cNvSpPr/>
      </dsp:nvSpPr>
      <dsp:spPr>
        <a:xfrm>
          <a:off x="5491433" y="1131945"/>
          <a:ext cx="907339" cy="45366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1100" kern="1200" smtClean="0"/>
            <a:t>HW</a:t>
          </a:r>
          <a:endParaRPr lang="en-US" sz="1100" kern="1200" dirty="0"/>
        </a:p>
      </dsp:txBody>
      <dsp:txXfrm>
        <a:off x="5491433" y="1131945"/>
        <a:ext cx="907339" cy="45366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AE23C0-025D-41E6-8109-2340403CEAAE}">
      <dsp:nvSpPr>
        <dsp:cNvPr id="0" name=""/>
        <dsp:cNvSpPr/>
      </dsp:nvSpPr>
      <dsp:spPr>
        <a:xfrm>
          <a:off x="4256772" y="406881"/>
          <a:ext cx="450320" cy="30777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7779"/>
              </a:lnTo>
              <a:lnTo>
                <a:pt x="450320" y="30777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3E47E0-0914-44FA-BDCA-0D1A286F2739}">
      <dsp:nvSpPr>
        <dsp:cNvPr id="0" name=""/>
        <dsp:cNvSpPr/>
      </dsp:nvSpPr>
      <dsp:spPr>
        <a:xfrm>
          <a:off x="4116731" y="406881"/>
          <a:ext cx="140040" cy="801018"/>
        </a:xfrm>
        <a:custGeom>
          <a:avLst/>
          <a:gdLst/>
          <a:ahLst/>
          <a:cxnLst/>
          <a:rect l="0" t="0" r="0" b="0"/>
          <a:pathLst>
            <a:path>
              <a:moveTo>
                <a:pt x="140040" y="0"/>
              </a:moveTo>
              <a:lnTo>
                <a:pt x="140040" y="801018"/>
              </a:lnTo>
              <a:lnTo>
                <a:pt x="0" y="80101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E50E335-4330-44F2-95B4-76069E117162}">
      <dsp:nvSpPr>
        <dsp:cNvPr id="0" name=""/>
        <dsp:cNvSpPr/>
      </dsp:nvSpPr>
      <dsp:spPr>
        <a:xfrm>
          <a:off x="4113704" y="406881"/>
          <a:ext cx="143067" cy="259987"/>
        </a:xfrm>
        <a:custGeom>
          <a:avLst/>
          <a:gdLst/>
          <a:ahLst/>
          <a:cxnLst/>
          <a:rect l="0" t="0" r="0" b="0"/>
          <a:pathLst>
            <a:path>
              <a:moveTo>
                <a:pt x="143067" y="0"/>
              </a:moveTo>
              <a:lnTo>
                <a:pt x="143067" y="259987"/>
              </a:lnTo>
              <a:lnTo>
                <a:pt x="0" y="25998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5B3140-5C91-4781-8AA9-0EF824C61331}">
      <dsp:nvSpPr>
        <dsp:cNvPr id="0" name=""/>
        <dsp:cNvSpPr/>
      </dsp:nvSpPr>
      <dsp:spPr>
        <a:xfrm>
          <a:off x="6827604" y="2140268"/>
          <a:ext cx="122064" cy="3743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4331"/>
              </a:lnTo>
              <a:lnTo>
                <a:pt x="122064" y="37433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7F05226-475E-44E2-A4D8-B10DF45DF306}">
      <dsp:nvSpPr>
        <dsp:cNvPr id="0" name=""/>
        <dsp:cNvSpPr/>
      </dsp:nvSpPr>
      <dsp:spPr>
        <a:xfrm>
          <a:off x="4256772" y="406881"/>
          <a:ext cx="2896338" cy="13265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41060"/>
              </a:lnTo>
              <a:lnTo>
                <a:pt x="2896338" y="1241060"/>
              </a:lnTo>
              <a:lnTo>
                <a:pt x="2896338" y="132650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0CE435-A61F-4C42-8709-8B1794D2D0CF}">
      <dsp:nvSpPr>
        <dsp:cNvPr id="0" name=""/>
        <dsp:cNvSpPr/>
      </dsp:nvSpPr>
      <dsp:spPr>
        <a:xfrm>
          <a:off x="5842951" y="2140268"/>
          <a:ext cx="122064" cy="3743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4331"/>
              </a:lnTo>
              <a:lnTo>
                <a:pt x="122064" y="37433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EFA7296-F759-4618-B279-B9913DB24A50}">
      <dsp:nvSpPr>
        <dsp:cNvPr id="0" name=""/>
        <dsp:cNvSpPr/>
      </dsp:nvSpPr>
      <dsp:spPr>
        <a:xfrm>
          <a:off x="4256772" y="406881"/>
          <a:ext cx="1911684" cy="13265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41060"/>
              </a:lnTo>
              <a:lnTo>
                <a:pt x="1911684" y="1241060"/>
              </a:lnTo>
              <a:lnTo>
                <a:pt x="1911684" y="132650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7C3176E-84C3-4FEA-AF47-48F87BC7CD93}">
      <dsp:nvSpPr>
        <dsp:cNvPr id="0" name=""/>
        <dsp:cNvSpPr/>
      </dsp:nvSpPr>
      <dsp:spPr>
        <a:xfrm>
          <a:off x="4858297" y="2140268"/>
          <a:ext cx="122064" cy="3743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4331"/>
              </a:lnTo>
              <a:lnTo>
                <a:pt x="122064" y="37433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536D45-B3C6-46A3-A25F-8CDD5BBA939B}">
      <dsp:nvSpPr>
        <dsp:cNvPr id="0" name=""/>
        <dsp:cNvSpPr/>
      </dsp:nvSpPr>
      <dsp:spPr>
        <a:xfrm>
          <a:off x="4256772" y="406881"/>
          <a:ext cx="927030" cy="13265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41060"/>
              </a:lnTo>
              <a:lnTo>
                <a:pt x="927030" y="1241060"/>
              </a:lnTo>
              <a:lnTo>
                <a:pt x="927030" y="132650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351C686-F9C4-4A90-AEF1-5DD15143AEBA}">
      <dsp:nvSpPr>
        <dsp:cNvPr id="0" name=""/>
        <dsp:cNvSpPr/>
      </dsp:nvSpPr>
      <dsp:spPr>
        <a:xfrm>
          <a:off x="3873644" y="2140268"/>
          <a:ext cx="122064" cy="9521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52102"/>
              </a:lnTo>
              <a:lnTo>
                <a:pt x="122064" y="95210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BB7D4E8-4C37-4F2A-9C17-4EA9A436BB67}">
      <dsp:nvSpPr>
        <dsp:cNvPr id="0" name=""/>
        <dsp:cNvSpPr/>
      </dsp:nvSpPr>
      <dsp:spPr>
        <a:xfrm>
          <a:off x="3873644" y="2140268"/>
          <a:ext cx="122064" cy="3743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4331"/>
              </a:lnTo>
              <a:lnTo>
                <a:pt x="122064" y="37433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C21AB10-9B54-4EC3-8533-92A149DF4DA3}">
      <dsp:nvSpPr>
        <dsp:cNvPr id="0" name=""/>
        <dsp:cNvSpPr/>
      </dsp:nvSpPr>
      <dsp:spPr>
        <a:xfrm>
          <a:off x="4153429" y="406881"/>
          <a:ext cx="91440" cy="1326505"/>
        </a:xfrm>
        <a:custGeom>
          <a:avLst/>
          <a:gdLst/>
          <a:ahLst/>
          <a:cxnLst/>
          <a:rect l="0" t="0" r="0" b="0"/>
          <a:pathLst>
            <a:path>
              <a:moveTo>
                <a:pt x="103342" y="0"/>
              </a:moveTo>
              <a:lnTo>
                <a:pt x="103342" y="1241060"/>
              </a:lnTo>
              <a:lnTo>
                <a:pt x="45720" y="1241060"/>
              </a:lnTo>
              <a:lnTo>
                <a:pt x="45720" y="132650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BC96C94-B0EB-4C34-99B0-E85C87465976}">
      <dsp:nvSpPr>
        <dsp:cNvPr id="0" name=""/>
        <dsp:cNvSpPr/>
      </dsp:nvSpPr>
      <dsp:spPr>
        <a:xfrm>
          <a:off x="2938993" y="2140268"/>
          <a:ext cx="91440" cy="95210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952102"/>
              </a:lnTo>
              <a:lnTo>
                <a:pt x="72061" y="95210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D9276EB-35E6-428F-822C-A0706C441FDD}">
      <dsp:nvSpPr>
        <dsp:cNvPr id="0" name=""/>
        <dsp:cNvSpPr/>
      </dsp:nvSpPr>
      <dsp:spPr>
        <a:xfrm>
          <a:off x="2938993" y="2140268"/>
          <a:ext cx="91440" cy="37433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74331"/>
              </a:lnTo>
              <a:lnTo>
                <a:pt x="72061" y="37433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EC018BC-B209-4531-8432-870A44BC3580}">
      <dsp:nvSpPr>
        <dsp:cNvPr id="0" name=""/>
        <dsp:cNvSpPr/>
      </dsp:nvSpPr>
      <dsp:spPr>
        <a:xfrm>
          <a:off x="3310219" y="406881"/>
          <a:ext cx="946553" cy="1326505"/>
        </a:xfrm>
        <a:custGeom>
          <a:avLst/>
          <a:gdLst/>
          <a:ahLst/>
          <a:cxnLst/>
          <a:rect l="0" t="0" r="0" b="0"/>
          <a:pathLst>
            <a:path>
              <a:moveTo>
                <a:pt x="946553" y="0"/>
              </a:moveTo>
              <a:lnTo>
                <a:pt x="946553" y="1241060"/>
              </a:lnTo>
              <a:lnTo>
                <a:pt x="0" y="1241060"/>
              </a:lnTo>
              <a:lnTo>
                <a:pt x="0" y="132650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AEE4DF3-3AA5-4D14-897C-EB746A93D899}">
      <dsp:nvSpPr>
        <dsp:cNvPr id="0" name=""/>
        <dsp:cNvSpPr/>
      </dsp:nvSpPr>
      <dsp:spPr>
        <a:xfrm>
          <a:off x="1904337" y="2117678"/>
          <a:ext cx="122064" cy="27080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08008"/>
              </a:lnTo>
              <a:lnTo>
                <a:pt x="122064" y="270800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FEF1C79-51EF-4FDD-822E-999F25B76A4D}">
      <dsp:nvSpPr>
        <dsp:cNvPr id="0" name=""/>
        <dsp:cNvSpPr/>
      </dsp:nvSpPr>
      <dsp:spPr>
        <a:xfrm>
          <a:off x="1904337" y="2117678"/>
          <a:ext cx="122064" cy="213023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30236"/>
              </a:lnTo>
              <a:lnTo>
                <a:pt x="122064" y="213023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854BAC0-DB5F-485A-A2EB-1EFD0D865748}">
      <dsp:nvSpPr>
        <dsp:cNvPr id="0" name=""/>
        <dsp:cNvSpPr/>
      </dsp:nvSpPr>
      <dsp:spPr>
        <a:xfrm>
          <a:off x="1904337" y="2117678"/>
          <a:ext cx="122064" cy="155617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56175"/>
              </a:lnTo>
              <a:lnTo>
                <a:pt x="122064" y="155617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AF3879-A87D-4192-9C36-46EEEF45406C}">
      <dsp:nvSpPr>
        <dsp:cNvPr id="0" name=""/>
        <dsp:cNvSpPr/>
      </dsp:nvSpPr>
      <dsp:spPr>
        <a:xfrm>
          <a:off x="1904337" y="2117678"/>
          <a:ext cx="122064" cy="9521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52102"/>
              </a:lnTo>
              <a:lnTo>
                <a:pt x="122064" y="95210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273CB01-3A93-4DBE-9E61-4178E03BD680}">
      <dsp:nvSpPr>
        <dsp:cNvPr id="0" name=""/>
        <dsp:cNvSpPr/>
      </dsp:nvSpPr>
      <dsp:spPr>
        <a:xfrm>
          <a:off x="1904337" y="2117678"/>
          <a:ext cx="122064" cy="3743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4331"/>
              </a:lnTo>
              <a:lnTo>
                <a:pt x="122064" y="37433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4DACFD2-55AF-48D2-A817-0621A1A13B01}">
      <dsp:nvSpPr>
        <dsp:cNvPr id="0" name=""/>
        <dsp:cNvSpPr/>
      </dsp:nvSpPr>
      <dsp:spPr>
        <a:xfrm>
          <a:off x="2229842" y="406881"/>
          <a:ext cx="2026929" cy="1303915"/>
        </a:xfrm>
        <a:custGeom>
          <a:avLst/>
          <a:gdLst/>
          <a:ahLst/>
          <a:cxnLst/>
          <a:rect l="0" t="0" r="0" b="0"/>
          <a:pathLst>
            <a:path>
              <a:moveTo>
                <a:pt x="2026929" y="0"/>
              </a:moveTo>
              <a:lnTo>
                <a:pt x="2026929" y="1218470"/>
              </a:lnTo>
              <a:lnTo>
                <a:pt x="0" y="1218470"/>
              </a:lnTo>
              <a:lnTo>
                <a:pt x="0" y="130391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ADAD001-C60B-433E-A58A-8B5F4A2A36D0}">
      <dsp:nvSpPr>
        <dsp:cNvPr id="0" name=""/>
        <dsp:cNvSpPr/>
      </dsp:nvSpPr>
      <dsp:spPr>
        <a:xfrm>
          <a:off x="919683" y="2117678"/>
          <a:ext cx="122064" cy="15524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52464"/>
              </a:lnTo>
              <a:lnTo>
                <a:pt x="122064" y="155246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AD24F01-22CB-4784-AF2B-628694E529B3}">
      <dsp:nvSpPr>
        <dsp:cNvPr id="0" name=""/>
        <dsp:cNvSpPr/>
      </dsp:nvSpPr>
      <dsp:spPr>
        <a:xfrm>
          <a:off x="919683" y="2117678"/>
          <a:ext cx="122064" cy="9521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52102"/>
              </a:lnTo>
              <a:lnTo>
                <a:pt x="122064" y="95210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6B7419B-C533-4D2D-B0DA-E8D94A73DA37}">
      <dsp:nvSpPr>
        <dsp:cNvPr id="0" name=""/>
        <dsp:cNvSpPr/>
      </dsp:nvSpPr>
      <dsp:spPr>
        <a:xfrm>
          <a:off x="919683" y="2117678"/>
          <a:ext cx="122064" cy="3743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4331"/>
              </a:lnTo>
              <a:lnTo>
                <a:pt x="122064" y="37433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B441E20-5FCB-45E0-BE6B-61A9AC24D657}">
      <dsp:nvSpPr>
        <dsp:cNvPr id="0" name=""/>
        <dsp:cNvSpPr/>
      </dsp:nvSpPr>
      <dsp:spPr>
        <a:xfrm>
          <a:off x="1245189" y="406881"/>
          <a:ext cx="3011583" cy="1303915"/>
        </a:xfrm>
        <a:custGeom>
          <a:avLst/>
          <a:gdLst/>
          <a:ahLst/>
          <a:cxnLst/>
          <a:rect l="0" t="0" r="0" b="0"/>
          <a:pathLst>
            <a:path>
              <a:moveTo>
                <a:pt x="3011583" y="0"/>
              </a:moveTo>
              <a:lnTo>
                <a:pt x="3011583" y="1218470"/>
              </a:lnTo>
              <a:lnTo>
                <a:pt x="0" y="1218470"/>
              </a:lnTo>
              <a:lnTo>
                <a:pt x="0" y="130391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268BD8C-6918-47EB-8D8A-2A7DA23D2730}">
      <dsp:nvSpPr>
        <dsp:cNvPr id="0" name=""/>
        <dsp:cNvSpPr/>
      </dsp:nvSpPr>
      <dsp:spPr>
        <a:xfrm>
          <a:off x="3849890" y="0"/>
          <a:ext cx="813763" cy="4068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900" kern="1200" dirty="0" smtClean="0"/>
            <a:t>Product Owner</a:t>
          </a:r>
          <a:endParaRPr lang="en-US" sz="900" kern="1200" dirty="0"/>
        </a:p>
      </dsp:txBody>
      <dsp:txXfrm>
        <a:off x="3849890" y="0"/>
        <a:ext cx="813763" cy="406881"/>
      </dsp:txXfrm>
    </dsp:sp>
    <dsp:sp modelId="{CC5CFFD3-BBA8-424B-B6F2-545745BE22AC}">
      <dsp:nvSpPr>
        <dsp:cNvPr id="0" name=""/>
        <dsp:cNvSpPr/>
      </dsp:nvSpPr>
      <dsp:spPr>
        <a:xfrm>
          <a:off x="838307" y="1710797"/>
          <a:ext cx="813763" cy="4068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900" kern="1200" dirty="0" smtClean="0"/>
            <a:t>Backlog Platform </a:t>
          </a:r>
          <a:endParaRPr lang="en-US" sz="900" kern="1200" dirty="0"/>
        </a:p>
      </dsp:txBody>
      <dsp:txXfrm>
        <a:off x="838307" y="1710797"/>
        <a:ext cx="813763" cy="406881"/>
      </dsp:txXfrm>
    </dsp:sp>
    <dsp:sp modelId="{7D362B7C-B04D-4FA7-AD50-DEDC39DFCF44}">
      <dsp:nvSpPr>
        <dsp:cNvPr id="0" name=""/>
        <dsp:cNvSpPr/>
      </dsp:nvSpPr>
      <dsp:spPr>
        <a:xfrm>
          <a:off x="1041748" y="2288569"/>
          <a:ext cx="813763" cy="4068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900" kern="1200" dirty="0" smtClean="0"/>
            <a:t>PF1 GOT</a:t>
          </a:r>
          <a:endParaRPr lang="en-US" sz="900" kern="1200" dirty="0"/>
        </a:p>
      </dsp:txBody>
      <dsp:txXfrm>
        <a:off x="1041748" y="2288569"/>
        <a:ext cx="813763" cy="406881"/>
      </dsp:txXfrm>
    </dsp:sp>
    <dsp:sp modelId="{63096FD0-BA6F-4F81-9A9D-D49641AC8453}">
      <dsp:nvSpPr>
        <dsp:cNvPr id="0" name=""/>
        <dsp:cNvSpPr/>
      </dsp:nvSpPr>
      <dsp:spPr>
        <a:xfrm>
          <a:off x="1041748" y="2866341"/>
          <a:ext cx="813763" cy="4068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900" kern="1200" dirty="0" smtClean="0"/>
            <a:t>PF2 GOT</a:t>
          </a:r>
          <a:endParaRPr lang="en-US" sz="900" kern="1200" dirty="0"/>
        </a:p>
      </dsp:txBody>
      <dsp:txXfrm>
        <a:off x="1041748" y="2866341"/>
        <a:ext cx="813763" cy="406881"/>
      </dsp:txXfrm>
    </dsp:sp>
    <dsp:sp modelId="{B2E77ECE-98CE-4A12-8844-5CA9CF7C10CE}">
      <dsp:nvSpPr>
        <dsp:cNvPr id="0" name=""/>
        <dsp:cNvSpPr/>
      </dsp:nvSpPr>
      <dsp:spPr>
        <a:xfrm>
          <a:off x="1041748" y="3466702"/>
          <a:ext cx="813763" cy="4068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900" kern="1200" dirty="0" smtClean="0"/>
            <a:t>PF3 Altran</a:t>
          </a:r>
          <a:endParaRPr lang="en-US" sz="900" kern="1200" dirty="0"/>
        </a:p>
      </dsp:txBody>
      <dsp:txXfrm>
        <a:off x="1041748" y="3466702"/>
        <a:ext cx="813763" cy="406881"/>
      </dsp:txXfrm>
    </dsp:sp>
    <dsp:sp modelId="{7143D64A-20B5-4520-9002-42791575BF9C}">
      <dsp:nvSpPr>
        <dsp:cNvPr id="0" name=""/>
        <dsp:cNvSpPr/>
      </dsp:nvSpPr>
      <dsp:spPr>
        <a:xfrm>
          <a:off x="1822960" y="1710797"/>
          <a:ext cx="813763" cy="4068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900" kern="1200" dirty="0" smtClean="0"/>
            <a:t>Backlog </a:t>
          </a:r>
          <a:r>
            <a:rPr lang="en-US" sz="900" kern="1200" dirty="0" smtClean="0"/>
            <a:t>Business</a:t>
          </a:r>
          <a:endParaRPr lang="en-US" sz="900" kern="1200" dirty="0"/>
        </a:p>
      </dsp:txBody>
      <dsp:txXfrm>
        <a:off x="1822960" y="1710797"/>
        <a:ext cx="813763" cy="406881"/>
      </dsp:txXfrm>
    </dsp:sp>
    <dsp:sp modelId="{B5ED37E4-3A5D-4E7B-AE9B-46C76C00C2F8}">
      <dsp:nvSpPr>
        <dsp:cNvPr id="0" name=""/>
        <dsp:cNvSpPr/>
      </dsp:nvSpPr>
      <dsp:spPr>
        <a:xfrm>
          <a:off x="2026401" y="2288569"/>
          <a:ext cx="813763" cy="4068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Business </a:t>
          </a:r>
          <a:r>
            <a:rPr lang="sv-SE" sz="900" kern="1200" dirty="0" smtClean="0"/>
            <a:t>1</a:t>
          </a:r>
          <a:r>
            <a:rPr lang="en-US" sz="900" kern="1200" dirty="0" smtClean="0"/>
            <a:t> GOT</a:t>
          </a:r>
          <a:endParaRPr lang="en-US" sz="900" kern="1200" dirty="0"/>
        </a:p>
      </dsp:txBody>
      <dsp:txXfrm>
        <a:off x="2026401" y="2288569"/>
        <a:ext cx="813763" cy="406881"/>
      </dsp:txXfrm>
    </dsp:sp>
    <dsp:sp modelId="{D526CEEA-52F5-453F-871B-3D10BA029ED1}">
      <dsp:nvSpPr>
        <dsp:cNvPr id="0" name=""/>
        <dsp:cNvSpPr/>
      </dsp:nvSpPr>
      <dsp:spPr>
        <a:xfrm>
          <a:off x="2026401" y="2866341"/>
          <a:ext cx="813763" cy="4068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Business </a:t>
          </a:r>
          <a:r>
            <a:rPr lang="sv-SE" sz="900" kern="1200" dirty="0" smtClean="0"/>
            <a:t>2 BLR</a:t>
          </a:r>
          <a:endParaRPr lang="en-US" sz="900" kern="1200" dirty="0"/>
        </a:p>
      </dsp:txBody>
      <dsp:txXfrm>
        <a:off x="2026401" y="2866341"/>
        <a:ext cx="813763" cy="406881"/>
      </dsp:txXfrm>
    </dsp:sp>
    <dsp:sp modelId="{46371EB8-81C9-4691-9EA6-FA2A718C334B}">
      <dsp:nvSpPr>
        <dsp:cNvPr id="0" name=""/>
        <dsp:cNvSpPr/>
      </dsp:nvSpPr>
      <dsp:spPr>
        <a:xfrm>
          <a:off x="2026401" y="3470413"/>
          <a:ext cx="813763" cy="4068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Business </a:t>
          </a:r>
          <a:r>
            <a:rPr lang="sv-SE" sz="900" kern="1200" dirty="0" smtClean="0"/>
            <a:t>3 BLR</a:t>
          </a:r>
          <a:endParaRPr lang="en-US" sz="900" kern="1200" dirty="0"/>
        </a:p>
      </dsp:txBody>
      <dsp:txXfrm>
        <a:off x="2026401" y="3470413"/>
        <a:ext cx="813763" cy="406881"/>
      </dsp:txXfrm>
    </dsp:sp>
    <dsp:sp modelId="{97B49338-DAB2-4725-8474-5DCC22D3DE77}">
      <dsp:nvSpPr>
        <dsp:cNvPr id="0" name=""/>
        <dsp:cNvSpPr/>
      </dsp:nvSpPr>
      <dsp:spPr>
        <a:xfrm>
          <a:off x="2026401" y="4044474"/>
          <a:ext cx="813763" cy="4068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Business 4 Altran</a:t>
          </a:r>
          <a:endParaRPr lang="en-US" sz="900" kern="1200" dirty="0"/>
        </a:p>
      </dsp:txBody>
      <dsp:txXfrm>
        <a:off x="2026401" y="4044474"/>
        <a:ext cx="813763" cy="406881"/>
      </dsp:txXfrm>
    </dsp:sp>
    <dsp:sp modelId="{5165E053-F522-45EF-BB1F-755E08198CE2}">
      <dsp:nvSpPr>
        <dsp:cNvPr id="0" name=""/>
        <dsp:cNvSpPr/>
      </dsp:nvSpPr>
      <dsp:spPr>
        <a:xfrm>
          <a:off x="2026401" y="4622246"/>
          <a:ext cx="813763" cy="4068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Business App Altran</a:t>
          </a:r>
          <a:endParaRPr lang="en-US" sz="900" kern="1200" dirty="0"/>
        </a:p>
      </dsp:txBody>
      <dsp:txXfrm>
        <a:off x="2026401" y="4622246"/>
        <a:ext cx="813763" cy="406881"/>
      </dsp:txXfrm>
    </dsp:sp>
    <dsp:sp modelId="{4C9E9CF0-C1A2-4677-ABFE-5B62D894949B}">
      <dsp:nvSpPr>
        <dsp:cNvPr id="0" name=""/>
        <dsp:cNvSpPr/>
      </dsp:nvSpPr>
      <dsp:spPr>
        <a:xfrm>
          <a:off x="2903337" y="1733387"/>
          <a:ext cx="813763" cy="4068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900" kern="1200" dirty="0" smtClean="0"/>
            <a:t>MRRT Backlog</a:t>
          </a:r>
          <a:endParaRPr lang="en-US" sz="900" kern="1200" dirty="0"/>
        </a:p>
      </dsp:txBody>
      <dsp:txXfrm>
        <a:off x="2903337" y="1733387"/>
        <a:ext cx="813763" cy="406881"/>
      </dsp:txXfrm>
    </dsp:sp>
    <dsp:sp modelId="{95C50CF4-FF33-4A9F-A76B-DC2F66719C49}">
      <dsp:nvSpPr>
        <dsp:cNvPr id="0" name=""/>
        <dsp:cNvSpPr/>
      </dsp:nvSpPr>
      <dsp:spPr>
        <a:xfrm>
          <a:off x="3011055" y="2311159"/>
          <a:ext cx="813763" cy="4068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900" kern="1200" dirty="0" smtClean="0"/>
            <a:t>MRRT GOT</a:t>
          </a:r>
          <a:endParaRPr lang="en-US" sz="900" kern="1200" dirty="0"/>
        </a:p>
      </dsp:txBody>
      <dsp:txXfrm>
        <a:off x="3011055" y="2311159"/>
        <a:ext cx="813763" cy="406881"/>
      </dsp:txXfrm>
    </dsp:sp>
    <dsp:sp modelId="{B3AFDDA2-9CFE-4737-A07B-C137F2DC9FD1}">
      <dsp:nvSpPr>
        <dsp:cNvPr id="0" name=""/>
        <dsp:cNvSpPr/>
      </dsp:nvSpPr>
      <dsp:spPr>
        <a:xfrm>
          <a:off x="3011055" y="2888931"/>
          <a:ext cx="813763" cy="4068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MRRT / E2E </a:t>
          </a:r>
          <a:r>
            <a:rPr lang="sv-SE" sz="900" kern="1200" dirty="0" smtClean="0"/>
            <a:t>Altran</a:t>
          </a:r>
          <a:endParaRPr lang="en-US" sz="900" kern="1200" dirty="0"/>
        </a:p>
      </dsp:txBody>
      <dsp:txXfrm>
        <a:off x="3011055" y="2888931"/>
        <a:ext cx="813763" cy="406881"/>
      </dsp:txXfrm>
    </dsp:sp>
    <dsp:sp modelId="{FB86FDD1-B6B3-47C6-B9E9-B4BE839F8E55}">
      <dsp:nvSpPr>
        <dsp:cNvPr id="0" name=""/>
        <dsp:cNvSpPr/>
      </dsp:nvSpPr>
      <dsp:spPr>
        <a:xfrm>
          <a:off x="3792267" y="1733387"/>
          <a:ext cx="813763" cy="4068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900" kern="1200" dirty="0" smtClean="0"/>
            <a:t>E2E Backlog GOT</a:t>
          </a:r>
          <a:endParaRPr lang="en-US" sz="900" kern="1200" dirty="0"/>
        </a:p>
      </dsp:txBody>
      <dsp:txXfrm>
        <a:off x="3792267" y="1733387"/>
        <a:ext cx="813763" cy="406881"/>
      </dsp:txXfrm>
    </dsp:sp>
    <dsp:sp modelId="{3C41E94A-170F-4BD3-8CF4-A2A0AF817C4E}">
      <dsp:nvSpPr>
        <dsp:cNvPr id="0" name=""/>
        <dsp:cNvSpPr/>
      </dsp:nvSpPr>
      <dsp:spPr>
        <a:xfrm>
          <a:off x="3995708" y="2311159"/>
          <a:ext cx="813763" cy="4068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900" kern="1200" dirty="0" smtClean="0"/>
            <a:t>E2E GOT</a:t>
          </a:r>
          <a:endParaRPr lang="en-US" sz="900" kern="1200" dirty="0"/>
        </a:p>
      </dsp:txBody>
      <dsp:txXfrm>
        <a:off x="3995708" y="2311159"/>
        <a:ext cx="813763" cy="406881"/>
      </dsp:txXfrm>
    </dsp:sp>
    <dsp:sp modelId="{440A4134-CFEC-4CDD-BC7B-79F5B7714652}">
      <dsp:nvSpPr>
        <dsp:cNvPr id="0" name=""/>
        <dsp:cNvSpPr/>
      </dsp:nvSpPr>
      <dsp:spPr>
        <a:xfrm>
          <a:off x="3995708" y="2888931"/>
          <a:ext cx="813763" cy="4068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MRRT / E2E </a:t>
          </a:r>
          <a:r>
            <a:rPr lang="sv-SE" sz="900" kern="1200" dirty="0" smtClean="0"/>
            <a:t>Altran</a:t>
          </a:r>
          <a:endParaRPr lang="en-US" sz="900" kern="1200" dirty="0"/>
        </a:p>
      </dsp:txBody>
      <dsp:txXfrm>
        <a:off x="3995708" y="2888931"/>
        <a:ext cx="813763" cy="406881"/>
      </dsp:txXfrm>
    </dsp:sp>
    <dsp:sp modelId="{5865C308-333B-4634-8FBE-B9B69DBEE4F6}">
      <dsp:nvSpPr>
        <dsp:cNvPr id="0" name=""/>
        <dsp:cNvSpPr/>
      </dsp:nvSpPr>
      <dsp:spPr>
        <a:xfrm>
          <a:off x="4776921" y="1733387"/>
          <a:ext cx="813763" cy="4068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900" kern="1200" dirty="0" smtClean="0"/>
            <a:t>E2E Backlog GSO</a:t>
          </a:r>
          <a:endParaRPr lang="en-US" sz="900" kern="1200" dirty="0"/>
        </a:p>
      </dsp:txBody>
      <dsp:txXfrm>
        <a:off x="4776921" y="1733387"/>
        <a:ext cx="813763" cy="406881"/>
      </dsp:txXfrm>
    </dsp:sp>
    <dsp:sp modelId="{05163EB1-B59B-4815-95FA-406D2336712B}">
      <dsp:nvSpPr>
        <dsp:cNvPr id="0" name=""/>
        <dsp:cNvSpPr/>
      </dsp:nvSpPr>
      <dsp:spPr>
        <a:xfrm>
          <a:off x="4980362" y="2311159"/>
          <a:ext cx="813763" cy="4068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900" kern="1200" dirty="0" smtClean="0"/>
            <a:t>E2E GSO</a:t>
          </a:r>
          <a:endParaRPr lang="en-US" sz="900" kern="1200" dirty="0"/>
        </a:p>
      </dsp:txBody>
      <dsp:txXfrm>
        <a:off x="4980362" y="2311159"/>
        <a:ext cx="813763" cy="406881"/>
      </dsp:txXfrm>
    </dsp:sp>
    <dsp:sp modelId="{FC8627F0-AFB6-4605-97E1-0F7FC2B2CB21}">
      <dsp:nvSpPr>
        <dsp:cNvPr id="0" name=""/>
        <dsp:cNvSpPr/>
      </dsp:nvSpPr>
      <dsp:spPr>
        <a:xfrm>
          <a:off x="5761575" y="1733387"/>
          <a:ext cx="813763" cy="4068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900" kern="1200" dirty="0" smtClean="0"/>
            <a:t>E2E Backlog BLR</a:t>
          </a:r>
          <a:endParaRPr lang="en-US" sz="900" kern="1200" dirty="0"/>
        </a:p>
      </dsp:txBody>
      <dsp:txXfrm>
        <a:off x="5761575" y="1733387"/>
        <a:ext cx="813763" cy="406881"/>
      </dsp:txXfrm>
    </dsp:sp>
    <dsp:sp modelId="{027A3315-4B4D-4DC2-879B-12660FDE7619}">
      <dsp:nvSpPr>
        <dsp:cNvPr id="0" name=""/>
        <dsp:cNvSpPr/>
      </dsp:nvSpPr>
      <dsp:spPr>
        <a:xfrm>
          <a:off x="5965015" y="2311159"/>
          <a:ext cx="813763" cy="4068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900" kern="1200" dirty="0" smtClean="0"/>
            <a:t>E2E BLR</a:t>
          </a:r>
          <a:endParaRPr lang="en-US" sz="900" kern="1200" dirty="0"/>
        </a:p>
      </dsp:txBody>
      <dsp:txXfrm>
        <a:off x="5965015" y="2311159"/>
        <a:ext cx="813763" cy="406881"/>
      </dsp:txXfrm>
    </dsp:sp>
    <dsp:sp modelId="{F0FB213F-3C78-426C-982C-39F60FACED1D}">
      <dsp:nvSpPr>
        <dsp:cNvPr id="0" name=""/>
        <dsp:cNvSpPr/>
      </dsp:nvSpPr>
      <dsp:spPr>
        <a:xfrm>
          <a:off x="6746228" y="1733387"/>
          <a:ext cx="813763" cy="4068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900" kern="1200" dirty="0" smtClean="0"/>
            <a:t>E2E Backlog AGEO</a:t>
          </a:r>
          <a:endParaRPr lang="en-US" sz="900" kern="1200" dirty="0"/>
        </a:p>
      </dsp:txBody>
      <dsp:txXfrm>
        <a:off x="6746228" y="1733387"/>
        <a:ext cx="813763" cy="406881"/>
      </dsp:txXfrm>
    </dsp:sp>
    <dsp:sp modelId="{6A9F2864-9B9D-4F04-98C4-0C292AD4F3E2}">
      <dsp:nvSpPr>
        <dsp:cNvPr id="0" name=""/>
        <dsp:cNvSpPr/>
      </dsp:nvSpPr>
      <dsp:spPr>
        <a:xfrm>
          <a:off x="6949669" y="2311159"/>
          <a:ext cx="813763" cy="4068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900" kern="1200" dirty="0" smtClean="0"/>
            <a:t>E2E AGEO</a:t>
          </a:r>
          <a:endParaRPr lang="en-US" sz="900" kern="1200" dirty="0"/>
        </a:p>
      </dsp:txBody>
      <dsp:txXfrm>
        <a:off x="6949669" y="2311159"/>
        <a:ext cx="813763" cy="406881"/>
      </dsp:txXfrm>
    </dsp:sp>
    <dsp:sp modelId="{AD431767-0ECF-401B-9D90-E62A20B1B676}">
      <dsp:nvSpPr>
        <dsp:cNvPr id="0" name=""/>
        <dsp:cNvSpPr/>
      </dsp:nvSpPr>
      <dsp:spPr>
        <a:xfrm>
          <a:off x="3299941" y="463428"/>
          <a:ext cx="813763" cy="4068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900" kern="1200" dirty="0" smtClean="0"/>
            <a:t>SW Product Architect</a:t>
          </a:r>
          <a:endParaRPr lang="en-US" sz="900" kern="1200" dirty="0"/>
        </a:p>
      </dsp:txBody>
      <dsp:txXfrm>
        <a:off x="3299941" y="463428"/>
        <a:ext cx="813763" cy="406881"/>
      </dsp:txXfrm>
    </dsp:sp>
    <dsp:sp modelId="{ADCD91CE-C780-40A2-9D3A-F8C691A7CFDF}">
      <dsp:nvSpPr>
        <dsp:cNvPr id="0" name=""/>
        <dsp:cNvSpPr/>
      </dsp:nvSpPr>
      <dsp:spPr>
        <a:xfrm>
          <a:off x="3302968" y="1004458"/>
          <a:ext cx="813763" cy="4068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900" kern="1200" dirty="0" smtClean="0"/>
            <a:t>SW Verification Architect</a:t>
          </a:r>
          <a:endParaRPr lang="en-US" sz="900" kern="1200" dirty="0"/>
        </a:p>
      </dsp:txBody>
      <dsp:txXfrm>
        <a:off x="3302968" y="1004458"/>
        <a:ext cx="813763" cy="406881"/>
      </dsp:txXfrm>
    </dsp:sp>
    <dsp:sp modelId="{4D469C14-18CE-438E-B115-66456325B961}">
      <dsp:nvSpPr>
        <dsp:cNvPr id="0" name=""/>
        <dsp:cNvSpPr/>
      </dsp:nvSpPr>
      <dsp:spPr>
        <a:xfrm>
          <a:off x="4707092" y="511220"/>
          <a:ext cx="813763" cy="4068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900" kern="1200" smtClean="0"/>
            <a:t>CM</a:t>
          </a:r>
          <a:endParaRPr lang="en-US" sz="900" kern="1200" dirty="0"/>
        </a:p>
      </dsp:txBody>
      <dsp:txXfrm>
        <a:off x="4707092" y="511220"/>
        <a:ext cx="813763" cy="40688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622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 sz="110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71913" y="0"/>
            <a:ext cx="2960687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32AD0D-FCE4-4AC3-80E4-391363750BC0}" type="datetimeFigureOut">
              <a:rPr lang="sv-SE" sz="1100" smtClean="0">
                <a:latin typeface="Arial" pitchFamily="34" charset="0"/>
                <a:cs typeface="Arial" pitchFamily="34" charset="0"/>
              </a:rPr>
              <a:t>2016-08-18</a:t>
            </a:fld>
            <a:endParaRPr lang="sv-SE" sz="110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78963"/>
            <a:ext cx="29622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 sz="11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71913" y="9478963"/>
            <a:ext cx="2960687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EFD27F-DCDB-4D3B-B6DE-946B7D4F34DB}" type="slidenum">
              <a:rPr lang="sv-SE" sz="1100" smtClean="0">
                <a:latin typeface="Arial" pitchFamily="34" charset="0"/>
                <a:cs typeface="Arial" pitchFamily="34" charset="0"/>
              </a:rPr>
              <a:t>‹#›</a:t>
            </a:fld>
            <a:endParaRPr lang="sv-SE" sz="11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4381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61481" cy="49895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71125" y="0"/>
            <a:ext cx="2961481" cy="49895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fld id="{B35A79AD-8434-4456-9B6E-2D4F4A74A796}" type="datetimeFigureOut">
              <a:rPr lang="sv-SE" smtClean="0"/>
              <a:pPr/>
              <a:t>2016-08-18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2338" y="747713"/>
            <a:ext cx="4991100" cy="37433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3419" y="4740037"/>
            <a:ext cx="5467350" cy="44905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78342"/>
            <a:ext cx="2961481" cy="4989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71125" y="9478342"/>
            <a:ext cx="2961481" cy="4989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fld id="{68186CD8-2B5F-47D2-B024-69831587248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442307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000"/>
      </a:spcBef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186CD8-2B5F-47D2-B024-698315872481}" type="slidenum">
              <a:rPr lang="sv-SE" smtClean="0"/>
              <a:pPr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08234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DBF97C9-5C99-4526-8D43-6DC69DD52E7A}" type="slidenum">
              <a:rPr lang="sv-SE"/>
              <a:pPr/>
              <a:t>8</a:t>
            </a:fld>
            <a:endParaRPr lang="sv-SE"/>
          </a:p>
        </p:txBody>
      </p:sp>
      <p:sp>
        <p:nvSpPr>
          <p:cNvPr id="5959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2504" y="748468"/>
            <a:ext cx="4989181" cy="3742333"/>
          </a:xfrm>
          <a:ln/>
        </p:spPr>
      </p:sp>
      <p:sp>
        <p:nvSpPr>
          <p:cNvPr id="5959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3355" y="4739404"/>
            <a:ext cx="5007479" cy="4490879"/>
          </a:xfrm>
        </p:spPr>
        <p:txBody>
          <a:bodyPr/>
          <a:lstStyle/>
          <a:p>
            <a:endParaRPr lang="en-GB" sz="100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Actually, all roles have</a:t>
            </a:r>
            <a:r>
              <a:rPr lang="sv-SE" baseline="0" dirty="0" smtClean="0"/>
              <a:t> been </a:t>
            </a:r>
            <a:r>
              <a:rPr lang="sv-SE" dirty="0" smtClean="0"/>
              <a:t>changed.</a:t>
            </a:r>
            <a:r>
              <a:rPr lang="sv-SE" baseline="0" dirty="0" smtClean="0"/>
              <a:t> But these two roles have major changes. They will break down the scope according to the new proces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186CD8-2B5F-47D2-B024-698315872481}" type="slidenum">
              <a:rPr lang="sv-SE" smtClean="0"/>
              <a:pPr/>
              <a:t>1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086031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186CD8-2B5F-47D2-B024-698315872481}" type="slidenum">
              <a:rPr lang="sv-SE" smtClean="0"/>
              <a:pPr/>
              <a:t>1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086031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92150" y="3705225"/>
            <a:ext cx="7737475" cy="1143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6144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360488" y="5067300"/>
            <a:ext cx="6400800" cy="1752600"/>
          </a:xfrm>
        </p:spPr>
        <p:txBody>
          <a:bodyPr/>
          <a:lstStyle>
            <a:lvl1pPr marL="0" indent="0" algn="ctr">
              <a:buFont typeface="Symbol" pitchFamily="18" charset="2"/>
              <a:buNone/>
              <a:defRPr sz="2400"/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61461" name="Picture 21"/>
          <p:cNvPicPr preferRelativeResize="0"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9100" y="1965325"/>
            <a:ext cx="573881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25627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vo - 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6" name="Rectangle 6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9144000" cy="6130925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04833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675" y="441325"/>
            <a:ext cx="838835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0675" y="1878013"/>
            <a:ext cx="3810000" cy="3886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4283075" y="1878013"/>
            <a:ext cx="3810000" cy="3886200"/>
          </a:xfrm>
        </p:spPr>
        <p:txBody>
          <a:bodyPr/>
          <a:lstStyle/>
          <a:p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341313" y="6426200"/>
            <a:ext cx="6945312" cy="228600"/>
          </a:xfrm>
        </p:spPr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352425" y="6619875"/>
            <a:ext cx="392113" cy="207963"/>
          </a:xfrm>
        </p:spPr>
        <p:txBody>
          <a:bodyPr/>
          <a:lstStyle>
            <a:lvl1pPr>
              <a:defRPr/>
            </a:lvl1pPr>
          </a:lstStyle>
          <a:p>
            <a:fld id="{556DFCBF-9B83-4DBC-A733-353D835F53DC}" type="slidenum">
              <a:rPr lang="sv-SE"/>
              <a:pPr/>
              <a:t>‹#›</a:t>
            </a:fld>
            <a:endParaRPr lang="sv-S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>
          <a:xfrm>
            <a:off x="588963" y="6618288"/>
            <a:ext cx="2538412" cy="209550"/>
          </a:xfrm>
        </p:spPr>
        <p:txBody>
          <a:bodyPr/>
          <a:lstStyle>
            <a:lvl1pPr>
              <a:defRPr/>
            </a:lvl1pPr>
          </a:lstStyle>
          <a:p>
            <a:fld id="{6412075E-254C-4379-B87E-ABC489173BC9}" type="datetime1">
              <a:rPr lang="sv-SE" smtClean="0"/>
              <a:t>2016-08-1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682998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92150" y="3705225"/>
            <a:ext cx="7737475" cy="1143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6144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360488" y="5067300"/>
            <a:ext cx="6400800" cy="1752600"/>
          </a:xfrm>
        </p:spPr>
        <p:txBody>
          <a:bodyPr/>
          <a:lstStyle>
            <a:lvl1pPr marL="0" indent="0" algn="ctr">
              <a:buFont typeface="Symbol" pitchFamily="18" charset="2"/>
              <a:buNone/>
              <a:defRPr sz="2400"/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61461" name="Picture 21"/>
          <p:cNvPicPr preferRelativeResize="0"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9100" y="1965325"/>
            <a:ext cx="573881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555489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0E9AD42-C178-4DDF-86C3-EDC77BEDCFC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501673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47138" y="959145"/>
            <a:ext cx="8240271" cy="408690"/>
          </a:xfrm>
        </p:spPr>
        <p:txBody>
          <a:bodyPr anchor="t" anchorCtr="0">
            <a:noAutofit/>
          </a:bodyPr>
          <a:lstStyle>
            <a:lvl1pPr marL="0" indent="0">
              <a:lnSpc>
                <a:spcPts val="2700"/>
              </a:lnSpc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add sub-heading  </a:t>
            </a:r>
          </a:p>
        </p:txBody>
      </p:sp>
    </p:spTree>
    <p:extLst>
      <p:ext uri="{BB962C8B-B14F-4D97-AF65-F5344CB8AC3E}">
        <p14:creationId xmlns:p14="http://schemas.microsoft.com/office/powerpoint/2010/main" val="86305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4ABB991-70B4-4945-B03A-23D49C42F90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2263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536454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69227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A48B6B9-208B-4632-BEF9-204970A2537F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1033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94AB315-E20E-4D83-BD01-AD3F862EE5E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47239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vo - Pictur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-3175" y="1989138"/>
            <a:ext cx="69850" cy="2519362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n-US" noProof="0">
              <a:cs typeface="+mn-cs"/>
            </a:endParaRPr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60757" y="1989138"/>
            <a:ext cx="3999600" cy="25200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323132" y="1891054"/>
            <a:ext cx="452449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425" indent="-317500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22079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92150" y="3705225"/>
            <a:ext cx="7737475" cy="1143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6144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360488" y="5067300"/>
            <a:ext cx="6400800" cy="1752600"/>
          </a:xfrm>
        </p:spPr>
        <p:txBody>
          <a:bodyPr/>
          <a:lstStyle>
            <a:lvl1pPr marL="0" indent="0" algn="ctr">
              <a:buFont typeface="Symbol" pitchFamily="18" charset="2"/>
              <a:buNone/>
              <a:defRPr sz="2400"/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61461" name="Picture 21"/>
          <p:cNvPicPr preferRelativeResize="0"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9100" y="1965325"/>
            <a:ext cx="573881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01867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0E9AD42-C178-4DDF-86C3-EDC77BEDCFC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29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0E9AD42-C178-4DDF-86C3-EDC77BEDCFC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5376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47138" y="959145"/>
            <a:ext cx="8240271" cy="408690"/>
          </a:xfrm>
        </p:spPr>
        <p:txBody>
          <a:bodyPr anchor="t" anchorCtr="0">
            <a:noAutofit/>
          </a:bodyPr>
          <a:lstStyle>
            <a:lvl1pPr marL="0" indent="0">
              <a:lnSpc>
                <a:spcPts val="2700"/>
              </a:lnSpc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add sub-heading  </a:t>
            </a:r>
          </a:p>
        </p:txBody>
      </p:sp>
    </p:spTree>
    <p:extLst>
      <p:ext uri="{BB962C8B-B14F-4D97-AF65-F5344CB8AC3E}">
        <p14:creationId xmlns:p14="http://schemas.microsoft.com/office/powerpoint/2010/main" val="1537146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4ABB991-70B4-4945-B03A-23D49C42F90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2263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536454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518063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A48B6B9-208B-4632-BEF9-204970A2537F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33800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94AB315-E20E-4D83-BD01-AD3F862EE5E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1355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vo - Pictur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-3175" y="1989138"/>
            <a:ext cx="69850" cy="2519362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n-US" noProof="0">
              <a:cs typeface="+mn-cs"/>
            </a:endParaRPr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60757" y="1989138"/>
            <a:ext cx="3999600" cy="25200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323132" y="1891054"/>
            <a:ext cx="452449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425" indent="-317500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84098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92150" y="3705225"/>
            <a:ext cx="7737475" cy="1143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6144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360488" y="5067300"/>
            <a:ext cx="6400800" cy="1752600"/>
          </a:xfrm>
        </p:spPr>
        <p:txBody>
          <a:bodyPr/>
          <a:lstStyle>
            <a:lvl1pPr marL="0" indent="0" algn="ctr">
              <a:buFont typeface="Symbol" pitchFamily="18" charset="2"/>
              <a:buNone/>
              <a:defRPr sz="2400"/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61461" name="Picture 21"/>
          <p:cNvPicPr preferRelativeResize="0"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9100" y="1965325"/>
            <a:ext cx="573881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31572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0E9AD42-C178-4DDF-86C3-EDC77BEDCFC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8245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47138" y="959145"/>
            <a:ext cx="8240271" cy="408690"/>
          </a:xfrm>
        </p:spPr>
        <p:txBody>
          <a:bodyPr anchor="t" anchorCtr="0">
            <a:noAutofit/>
          </a:bodyPr>
          <a:lstStyle>
            <a:lvl1pPr marL="0" indent="0">
              <a:lnSpc>
                <a:spcPts val="2700"/>
              </a:lnSpc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add sub-heading  </a:t>
            </a:r>
          </a:p>
        </p:txBody>
      </p:sp>
    </p:spTree>
    <p:extLst>
      <p:ext uri="{BB962C8B-B14F-4D97-AF65-F5344CB8AC3E}">
        <p14:creationId xmlns:p14="http://schemas.microsoft.com/office/powerpoint/2010/main" val="18603075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4ABB991-70B4-4945-B03A-23D49C42F90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2263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536454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35930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47138" y="959145"/>
            <a:ext cx="8240271" cy="408690"/>
          </a:xfrm>
        </p:spPr>
        <p:txBody>
          <a:bodyPr anchor="t" anchorCtr="0">
            <a:noAutofit/>
          </a:bodyPr>
          <a:lstStyle>
            <a:lvl1pPr marL="0" indent="0">
              <a:lnSpc>
                <a:spcPts val="2700"/>
              </a:lnSpc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add sub-heading  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254507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A48B6B9-208B-4632-BEF9-204970A2537F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436441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94AB315-E20E-4D83-BD01-AD3F862EE5E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982394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vo - Pictur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-3175" y="1989138"/>
            <a:ext cx="69850" cy="2519362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n-US" noProof="0">
              <a:cs typeface="+mn-cs"/>
            </a:endParaRPr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60757" y="1989138"/>
            <a:ext cx="3999600" cy="25200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323132" y="1891054"/>
            <a:ext cx="452449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425" indent="-317500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46377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92150" y="3705225"/>
            <a:ext cx="7737475" cy="1143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6144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360488" y="5067300"/>
            <a:ext cx="6400800" cy="1752600"/>
          </a:xfrm>
        </p:spPr>
        <p:txBody>
          <a:bodyPr/>
          <a:lstStyle>
            <a:lvl1pPr marL="0" indent="0" algn="ctr">
              <a:buFont typeface="Symbol" pitchFamily="18" charset="2"/>
              <a:buNone/>
              <a:defRPr sz="2400"/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61461" name="Picture 21"/>
          <p:cNvPicPr preferRelativeResize="0"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9100" y="1965325"/>
            <a:ext cx="573881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60738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0E9AD42-C178-4DDF-86C3-EDC77BEDCFC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986457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47138" y="959145"/>
            <a:ext cx="8240271" cy="408690"/>
          </a:xfrm>
        </p:spPr>
        <p:txBody>
          <a:bodyPr anchor="t" anchorCtr="0">
            <a:noAutofit/>
          </a:bodyPr>
          <a:lstStyle>
            <a:lvl1pPr marL="0" indent="0">
              <a:lnSpc>
                <a:spcPts val="2700"/>
              </a:lnSpc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add sub-heading  </a:t>
            </a:r>
          </a:p>
        </p:txBody>
      </p:sp>
    </p:spTree>
    <p:extLst>
      <p:ext uri="{BB962C8B-B14F-4D97-AF65-F5344CB8AC3E}">
        <p14:creationId xmlns:p14="http://schemas.microsoft.com/office/powerpoint/2010/main" val="20652636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4ABB991-70B4-4945-B03A-23D49C42F90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2263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536454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50008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A48B6B9-208B-4632-BEF9-204970A2537F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9991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94AB315-E20E-4D83-BD01-AD3F862EE5E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80310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vo - Pictur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-3175" y="1989138"/>
            <a:ext cx="69850" cy="2519362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n-US" noProof="0">
              <a:cs typeface="+mn-cs"/>
            </a:endParaRPr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60757" y="1989138"/>
            <a:ext cx="3999600" cy="25200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323132" y="1891054"/>
            <a:ext cx="452449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425" indent="-317500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667475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4ABB991-70B4-4945-B03A-23D49C42F90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2263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536454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3351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92150" y="3705225"/>
            <a:ext cx="7737475" cy="1143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6144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360488" y="5067300"/>
            <a:ext cx="6400800" cy="1752600"/>
          </a:xfrm>
        </p:spPr>
        <p:txBody>
          <a:bodyPr/>
          <a:lstStyle>
            <a:lvl1pPr marL="0" indent="0" algn="ctr">
              <a:buFont typeface="Symbol" pitchFamily="18" charset="2"/>
              <a:buNone/>
              <a:defRPr sz="2400"/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61461" name="Picture 21"/>
          <p:cNvPicPr preferRelativeResize="0"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9100" y="1965325"/>
            <a:ext cx="573881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28144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0E9AD42-C178-4DDF-86C3-EDC77BEDCFC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91011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47138" y="959145"/>
            <a:ext cx="8240271" cy="408690"/>
          </a:xfrm>
        </p:spPr>
        <p:txBody>
          <a:bodyPr anchor="t" anchorCtr="0">
            <a:noAutofit/>
          </a:bodyPr>
          <a:lstStyle>
            <a:lvl1pPr marL="0" indent="0">
              <a:lnSpc>
                <a:spcPts val="2700"/>
              </a:lnSpc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add sub-heading  </a:t>
            </a:r>
          </a:p>
        </p:txBody>
      </p:sp>
    </p:spTree>
    <p:extLst>
      <p:ext uri="{BB962C8B-B14F-4D97-AF65-F5344CB8AC3E}">
        <p14:creationId xmlns:p14="http://schemas.microsoft.com/office/powerpoint/2010/main" val="12270826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4ABB991-70B4-4945-B03A-23D49C42F90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2263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536454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7914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A48B6B9-208B-4632-BEF9-204970A2537F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70317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94AB315-E20E-4D83-BD01-AD3F862EE5E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93836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vo - Pictur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-3175" y="1989138"/>
            <a:ext cx="69850" cy="2519362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n-US" noProof="0">
              <a:cs typeface="+mn-cs"/>
            </a:endParaRPr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60757" y="1989138"/>
            <a:ext cx="3999600" cy="25200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323132" y="1891054"/>
            <a:ext cx="452449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425" indent="-317500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38827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92150" y="3705225"/>
            <a:ext cx="7737475" cy="1143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6144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360488" y="5067300"/>
            <a:ext cx="6400800" cy="1752600"/>
          </a:xfrm>
        </p:spPr>
        <p:txBody>
          <a:bodyPr/>
          <a:lstStyle>
            <a:lvl1pPr marL="0" indent="0" algn="ctr">
              <a:buFont typeface="Symbol" pitchFamily="18" charset="2"/>
              <a:buNone/>
              <a:defRPr sz="2400"/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61461" name="Picture 21"/>
          <p:cNvPicPr preferRelativeResize="0"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9100" y="1965325"/>
            <a:ext cx="573881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318538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0E9AD42-C178-4DDF-86C3-EDC77BEDCFC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48419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47138" y="959145"/>
            <a:ext cx="8240271" cy="408690"/>
          </a:xfrm>
        </p:spPr>
        <p:txBody>
          <a:bodyPr anchor="t" anchorCtr="0">
            <a:noAutofit/>
          </a:bodyPr>
          <a:lstStyle>
            <a:lvl1pPr marL="0" indent="0">
              <a:lnSpc>
                <a:spcPts val="2700"/>
              </a:lnSpc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add sub-heading  </a:t>
            </a:r>
          </a:p>
        </p:txBody>
      </p:sp>
    </p:spTree>
    <p:extLst>
      <p:ext uri="{BB962C8B-B14F-4D97-AF65-F5344CB8AC3E}">
        <p14:creationId xmlns:p14="http://schemas.microsoft.com/office/powerpoint/2010/main" val="4108956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A48B6B9-208B-4632-BEF9-204970A2537F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74249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4ABB991-70B4-4945-B03A-23D49C42F90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2263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536454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164871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A48B6B9-208B-4632-BEF9-204970A2537F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261092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94AB315-E20E-4D83-BD01-AD3F862EE5E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109613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vo - Pictur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-3175" y="1989138"/>
            <a:ext cx="69850" cy="2519362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n-US" noProof="0">
              <a:cs typeface="+mn-cs"/>
            </a:endParaRPr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60757" y="1989138"/>
            <a:ext cx="3999600" cy="25200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323132" y="1891054"/>
            <a:ext cx="452449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425" indent="-317500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97778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92150" y="3705225"/>
            <a:ext cx="7737475" cy="1143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6144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360488" y="5067300"/>
            <a:ext cx="6400800" cy="1752600"/>
          </a:xfrm>
        </p:spPr>
        <p:txBody>
          <a:bodyPr/>
          <a:lstStyle>
            <a:lvl1pPr marL="0" indent="0" algn="ctr">
              <a:buFont typeface="Symbol" pitchFamily="18" charset="2"/>
              <a:buNone/>
              <a:defRPr sz="2400"/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61461" name="Picture 21"/>
          <p:cNvPicPr preferRelativeResize="0"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9100" y="1965325"/>
            <a:ext cx="573881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616652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0E9AD42-C178-4DDF-86C3-EDC77BEDCFC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148089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47138" y="959145"/>
            <a:ext cx="8240271" cy="408690"/>
          </a:xfrm>
        </p:spPr>
        <p:txBody>
          <a:bodyPr anchor="t" anchorCtr="0">
            <a:noAutofit/>
          </a:bodyPr>
          <a:lstStyle>
            <a:lvl1pPr marL="0" indent="0">
              <a:lnSpc>
                <a:spcPts val="2700"/>
              </a:lnSpc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add sub-heading  </a:t>
            </a:r>
          </a:p>
        </p:txBody>
      </p:sp>
    </p:spTree>
    <p:extLst>
      <p:ext uri="{BB962C8B-B14F-4D97-AF65-F5344CB8AC3E}">
        <p14:creationId xmlns:p14="http://schemas.microsoft.com/office/powerpoint/2010/main" val="893701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4ABB991-70B4-4945-B03A-23D49C42F90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2263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536454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1217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A48B6B9-208B-4632-BEF9-204970A2537F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70731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94AB315-E20E-4D83-BD01-AD3F862EE5E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130369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94AB315-E20E-4D83-BD01-AD3F862EE5E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85365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vo - Pictur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-3175" y="1989138"/>
            <a:ext cx="69850" cy="2519362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n-US" noProof="0">
              <a:cs typeface="+mn-cs"/>
            </a:endParaRPr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60757" y="1989138"/>
            <a:ext cx="3999600" cy="25200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323132" y="1891054"/>
            <a:ext cx="452449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425" indent="-317500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60445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92150" y="3705225"/>
            <a:ext cx="7737475" cy="1143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6144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360488" y="5067300"/>
            <a:ext cx="6400800" cy="1752600"/>
          </a:xfrm>
        </p:spPr>
        <p:txBody>
          <a:bodyPr/>
          <a:lstStyle>
            <a:lvl1pPr marL="0" indent="0" algn="ctr">
              <a:buFont typeface="Symbol" pitchFamily="18" charset="2"/>
              <a:buNone/>
              <a:defRPr sz="2400"/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61461" name="Picture 21"/>
          <p:cNvPicPr preferRelativeResize="0"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9100" y="1965325"/>
            <a:ext cx="573881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782218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0E9AD42-C178-4DDF-86C3-EDC77BEDCFC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18571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4680" y="1865241"/>
            <a:ext cx="82296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47138" y="959145"/>
            <a:ext cx="8240271" cy="408690"/>
          </a:xfrm>
        </p:spPr>
        <p:txBody>
          <a:bodyPr anchor="t" anchorCtr="0">
            <a:noAutofit/>
          </a:bodyPr>
          <a:lstStyle>
            <a:lvl1pPr marL="0" indent="0">
              <a:lnSpc>
                <a:spcPts val="2700"/>
              </a:lnSpc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add sub-heading  </a:t>
            </a:r>
          </a:p>
        </p:txBody>
      </p:sp>
    </p:spTree>
    <p:extLst>
      <p:ext uri="{BB962C8B-B14F-4D97-AF65-F5344CB8AC3E}">
        <p14:creationId xmlns:p14="http://schemas.microsoft.com/office/powerpoint/2010/main" val="2569238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4ABB991-70B4-4945-B03A-23D49C42F90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2263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536454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5485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A48B6B9-208B-4632-BEF9-204970A2537F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13621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94AB315-E20E-4D83-BD01-AD3F862EE5E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114259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vo - Pictur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-3175" y="1989138"/>
            <a:ext cx="69850" cy="2519362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n-US" noProof="0">
              <a:cs typeface="+mn-cs"/>
            </a:endParaRPr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60757" y="1989138"/>
            <a:ext cx="3999600" cy="25200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323132" y="1891054"/>
            <a:ext cx="452449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425" indent="-317500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23185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1779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vo - Pictur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-3176" y="1989138"/>
            <a:ext cx="86519" cy="2519362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n-US" noProof="0">
              <a:cs typeface="+mn-cs"/>
            </a:endParaRPr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75043" y="1989138"/>
            <a:ext cx="3999600" cy="25200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323132" y="1891054"/>
            <a:ext cx="452449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425" indent="-317500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0262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vo - Half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19088" y="349884"/>
            <a:ext cx="3961967" cy="1143000"/>
          </a:xfrm>
        </p:spPr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4572000" y="-1"/>
            <a:ext cx="4572000" cy="6130925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2263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17974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vo - Three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90D02-3A8A-4F7A-9A3A-80EC38C13FD5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 hasCustomPrompt="1"/>
          </p:nvPr>
        </p:nvSpPr>
        <p:spPr>
          <a:xfrm>
            <a:off x="4572000" y="4100950"/>
            <a:ext cx="4572000" cy="20268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 smtClean="0"/>
              <a:t>Click icon to add third picture</a:t>
            </a:r>
            <a:endParaRPr lang="en-US" noProof="0" dirty="0"/>
          </a:p>
        </p:txBody>
      </p:sp>
      <p:sp>
        <p:nvSpPr>
          <p:cNvPr id="9" name="Rectangle 6"/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0"/>
            <a:ext cx="4572000" cy="20268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 smtClean="0"/>
              <a:t>Click icon to add first picture</a:t>
            </a:r>
            <a:endParaRPr lang="en-US" noProof="0" dirty="0"/>
          </a:p>
        </p:txBody>
      </p:sp>
      <p:sp>
        <p:nvSpPr>
          <p:cNvPr id="10" name="Rectangle 6"/>
          <p:cNvSpPr>
            <a:spLocks noGrp="1"/>
          </p:cNvSpPr>
          <p:nvPr>
            <p:ph type="pic" sz="quarter" idx="16" hasCustomPrompt="1"/>
          </p:nvPr>
        </p:nvSpPr>
        <p:spPr>
          <a:xfrm>
            <a:off x="4572000" y="2052275"/>
            <a:ext cx="4572000" cy="20232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 smtClean="0"/>
              <a:t>Click icon to add secon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322263" y="1876425"/>
            <a:ext cx="3958792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19088" y="349884"/>
            <a:ext cx="3961967" cy="1143000"/>
          </a:xfrm>
        </p:spPr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8505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eg"/><Relationship Id="rId1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image" Target="../media/image2.wmf"/><Relationship Id="rId5" Type="http://schemas.openxmlformats.org/officeDocument/2006/relationships/slideLayout" Target="../slideLayouts/slideLayout6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64.xml"/><Relationship Id="rId9" Type="http://schemas.openxmlformats.org/officeDocument/2006/relationships/image" Target="../media/image10.jpeg"/></Relationships>
</file>

<file path=ppt/slideMasters/_rels/slideMaster1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6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w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2.wmf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3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image" Target="../media/image2.wmf"/><Relationship Id="rId5" Type="http://schemas.openxmlformats.org/officeDocument/2006/relationships/slideLayout" Target="../slideLayouts/slideLayout23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22.xml"/><Relationship Id="rId9" Type="http://schemas.openxmlformats.org/officeDocument/2006/relationships/image" Target="../media/image4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image" Target="../media/image2.wmf"/><Relationship Id="rId5" Type="http://schemas.openxmlformats.org/officeDocument/2006/relationships/slideLayout" Target="../slideLayouts/slideLayout30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29.xml"/><Relationship Id="rId9" Type="http://schemas.openxmlformats.org/officeDocument/2006/relationships/image" Target="../media/image5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image" Target="../media/image2.wmf"/><Relationship Id="rId5" Type="http://schemas.openxmlformats.org/officeDocument/2006/relationships/slideLayout" Target="../slideLayouts/slideLayout37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36.xml"/><Relationship Id="rId9" Type="http://schemas.openxmlformats.org/officeDocument/2006/relationships/image" Target="../media/image6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image" Target="../media/image2.wmf"/><Relationship Id="rId5" Type="http://schemas.openxmlformats.org/officeDocument/2006/relationships/slideLayout" Target="../slideLayouts/slideLayout44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43.xml"/><Relationship Id="rId9" Type="http://schemas.openxmlformats.org/officeDocument/2006/relationships/image" Target="../media/image7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image" Target="../media/image2.wmf"/><Relationship Id="rId5" Type="http://schemas.openxmlformats.org/officeDocument/2006/relationships/slideLayout" Target="../slideLayouts/slideLayout51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50.xml"/><Relationship Id="rId9" Type="http://schemas.openxmlformats.org/officeDocument/2006/relationships/image" Target="../media/image8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image" Target="../media/image2.wmf"/><Relationship Id="rId5" Type="http://schemas.openxmlformats.org/officeDocument/2006/relationships/slideLayout" Target="../slideLayouts/slideLayout58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57.xml"/><Relationship Id="rId9" Type="http://schemas.openxmlformats.org/officeDocument/2006/relationships/image" Target="../media/image9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680" y="1692965"/>
            <a:ext cx="8229600" cy="4133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smtClean="0"/>
              <a:t>Click to edit Master text styles</a:t>
            </a:r>
          </a:p>
          <a:p>
            <a:pPr marL="234950" lvl="1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smtClean="0"/>
              <a:t>Second level</a:t>
            </a:r>
          </a:p>
          <a:p>
            <a:pPr marL="234950" lvl="2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smtClean="0"/>
              <a:t>Third level</a:t>
            </a:r>
          </a:p>
          <a:p>
            <a:pPr marL="234950" lvl="3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smtClean="0"/>
              <a:t>Fourth level</a:t>
            </a:r>
          </a:p>
          <a:p>
            <a:pPr marL="234950" lvl="4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grpSp>
        <p:nvGrpSpPr>
          <p:cNvPr id="7" name="Group 20"/>
          <p:cNvGrpSpPr>
            <a:grpSpLocks/>
          </p:cNvGrpSpPr>
          <p:nvPr/>
        </p:nvGrpSpPr>
        <p:grpSpPr bwMode="auto">
          <a:xfrm>
            <a:off x="0" y="6186488"/>
            <a:ext cx="9144000" cy="671512"/>
            <a:chOff x="0" y="3897"/>
            <a:chExt cx="5760" cy="423"/>
          </a:xfrm>
        </p:grpSpPr>
        <p:pic>
          <p:nvPicPr>
            <p:cNvPr id="8" name="Picture 18" descr="grått band nertill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3924"/>
              <a:ext cx="5022" cy="3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Line 11"/>
            <p:cNvSpPr>
              <a:spLocks noChangeShapeType="1"/>
            </p:cNvSpPr>
            <p:nvPr userDrawn="1"/>
          </p:nvSpPr>
          <p:spPr bwMode="auto">
            <a:xfrm>
              <a:off x="0" y="3897"/>
              <a:ext cx="5760" cy="0"/>
            </a:xfrm>
            <a:prstGeom prst="line">
              <a:avLst/>
            </a:prstGeom>
            <a:noFill/>
            <a:ln w="25400">
              <a:solidFill>
                <a:srgbClr val="000F6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noProof="0"/>
            </a:p>
          </p:txBody>
        </p:sp>
        <p:pic>
          <p:nvPicPr>
            <p:cNvPr id="10" name="Picture 12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5" y="4076"/>
              <a:ext cx="587" cy="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9725" y="6426200"/>
            <a:ext cx="6873875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39725" y="6619875"/>
            <a:ext cx="503238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240FB22A-A709-4A20-9453-BB141F39FCB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339725" y="6256338"/>
            <a:ext cx="21336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>
              <a:spcBef>
                <a:spcPct val="0"/>
              </a:spcBef>
            </a:pPr>
            <a:r>
              <a:rPr lang="en-US" sz="1050" b="1" noProof="0" smtClean="0"/>
              <a:t>Volvo Group Trucks Technology</a:t>
            </a:r>
            <a:endParaRPr lang="en-US" sz="900" noProof="0"/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9203" y="6618288"/>
            <a:ext cx="2405062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48865338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lang="en-US" sz="3200" b="1" kern="1200" smtClean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1800"/>
        </a:spcBef>
        <a:buFont typeface="Symbol" pitchFamily="18" charset="2"/>
        <a:buChar char="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238" indent="-2508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425" indent="-317500" algn="l" defTabSz="914400" rtl="0" eaLnBrk="1" latinLnBrk="0" hangingPunct="1">
        <a:spcBef>
          <a:spcPts val="1800"/>
        </a:spcBef>
        <a:buSzPct val="90000"/>
        <a:buFont typeface="Arial" pitchFamily="34" charset="0"/>
        <a:buChar char="•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775" indent="-252413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9200" indent="-2127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3" descr="Volvo_Trucks_Eicher_ppt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1025" y="0"/>
            <a:ext cx="4752975" cy="5191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680" y="1692965"/>
            <a:ext cx="8229600" cy="4133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marL="860425" lvl="2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grpSp>
        <p:nvGrpSpPr>
          <p:cNvPr id="7" name="Group 20"/>
          <p:cNvGrpSpPr>
            <a:grpSpLocks/>
          </p:cNvGrpSpPr>
          <p:nvPr/>
        </p:nvGrpSpPr>
        <p:grpSpPr bwMode="auto">
          <a:xfrm>
            <a:off x="0" y="6186488"/>
            <a:ext cx="9144000" cy="671512"/>
            <a:chOff x="0" y="3897"/>
            <a:chExt cx="5760" cy="423"/>
          </a:xfrm>
        </p:grpSpPr>
        <p:pic>
          <p:nvPicPr>
            <p:cNvPr id="8" name="Picture 18" descr="grått band nertill"/>
            <p:cNvPicPr>
              <a:picLocks noChangeAspect="1" noChangeArrowheads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3924"/>
              <a:ext cx="5022" cy="3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Line 11"/>
            <p:cNvSpPr>
              <a:spLocks noChangeShapeType="1"/>
            </p:cNvSpPr>
            <p:nvPr userDrawn="1"/>
          </p:nvSpPr>
          <p:spPr bwMode="auto">
            <a:xfrm>
              <a:off x="0" y="3897"/>
              <a:ext cx="5760" cy="0"/>
            </a:xfrm>
            <a:prstGeom prst="line">
              <a:avLst/>
            </a:prstGeom>
            <a:noFill/>
            <a:ln w="25400">
              <a:solidFill>
                <a:srgbClr val="000F6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noProof="0"/>
            </a:p>
          </p:txBody>
        </p:sp>
        <p:pic>
          <p:nvPicPr>
            <p:cNvPr id="10" name="Picture 12"/>
            <p:cNvPicPr>
              <a:picLocks noChangeAspect="1" noChangeArrowheads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5" y="4076"/>
              <a:ext cx="587" cy="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9725" y="6426200"/>
            <a:ext cx="6873875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39725" y="6619875"/>
            <a:ext cx="503238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240FB22A-A709-4A20-9453-BB141F39FCB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339725" y="6256338"/>
            <a:ext cx="21336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>
              <a:spcBef>
                <a:spcPct val="0"/>
              </a:spcBef>
            </a:pPr>
            <a:r>
              <a:rPr lang="en-US" sz="1050" b="1" noProof="0" smtClean="0"/>
              <a:t>Volvo Group Trucks Technology</a:t>
            </a:r>
            <a:endParaRPr lang="en-US" sz="900" noProof="0"/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9203" y="6618288"/>
            <a:ext cx="2405062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23556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lang="en-US" sz="3200" b="1" kern="1200" smtClean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1800"/>
        </a:spcBef>
        <a:buFont typeface="Symbol" pitchFamily="18" charset="2"/>
        <a:buChar char="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238" indent="-2508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425" indent="-317500" algn="l" defTabSz="914400" rtl="0" eaLnBrk="1" latinLnBrk="0" hangingPunct="1">
        <a:spcBef>
          <a:spcPts val="1800"/>
        </a:spcBef>
        <a:buSzPct val="90000"/>
        <a:buFont typeface="Arial" pitchFamily="34" charset="0"/>
        <a:buChar char="•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775" indent="-252413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9200" indent="-2127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3925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lang="en-US" sz="3200" b="1" kern="1200" smtClean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1800"/>
        </a:spcBef>
        <a:buFont typeface="Symbol" pitchFamily="18" charset="2"/>
        <a:buChar char="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238" indent="-2508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425" indent="-317500" algn="l" defTabSz="914400" rtl="0" eaLnBrk="1" latinLnBrk="0" hangingPunct="1">
        <a:spcBef>
          <a:spcPts val="1800"/>
        </a:spcBef>
        <a:buSzPct val="90000"/>
        <a:buFont typeface="Arial" pitchFamily="34" charset="0"/>
        <a:buChar char="•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775" indent="-252413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9200" indent="-2127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680" y="1692965"/>
            <a:ext cx="8229600" cy="4133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marL="860425" lvl="2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grpSp>
        <p:nvGrpSpPr>
          <p:cNvPr id="7" name="Group 20"/>
          <p:cNvGrpSpPr>
            <a:grpSpLocks/>
          </p:cNvGrpSpPr>
          <p:nvPr/>
        </p:nvGrpSpPr>
        <p:grpSpPr bwMode="auto">
          <a:xfrm>
            <a:off x="0" y="6186488"/>
            <a:ext cx="9144000" cy="671512"/>
            <a:chOff x="0" y="3897"/>
            <a:chExt cx="5760" cy="423"/>
          </a:xfrm>
        </p:grpSpPr>
        <p:pic>
          <p:nvPicPr>
            <p:cNvPr id="8" name="Picture 18" descr="grått band nertill"/>
            <p:cNvPicPr>
              <a:picLocks noChangeAspect="1" noChangeArrowheads="1"/>
            </p:cNvPicPr>
            <p:nvPr userDrawn="1"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3924"/>
              <a:ext cx="5022" cy="3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Line 11"/>
            <p:cNvSpPr>
              <a:spLocks noChangeShapeType="1"/>
            </p:cNvSpPr>
            <p:nvPr userDrawn="1"/>
          </p:nvSpPr>
          <p:spPr bwMode="auto">
            <a:xfrm>
              <a:off x="0" y="3897"/>
              <a:ext cx="5760" cy="0"/>
            </a:xfrm>
            <a:prstGeom prst="line">
              <a:avLst/>
            </a:prstGeom>
            <a:noFill/>
            <a:ln w="25400">
              <a:solidFill>
                <a:srgbClr val="000F6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noProof="0"/>
            </a:p>
          </p:txBody>
        </p:sp>
        <p:pic>
          <p:nvPicPr>
            <p:cNvPr id="10" name="Picture 12"/>
            <p:cNvPicPr>
              <a:picLocks noChangeAspect="1" noChangeArrowheads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5" y="4076"/>
              <a:ext cx="587" cy="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9725" y="6426200"/>
            <a:ext cx="6873875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39725" y="6619875"/>
            <a:ext cx="503238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240FB22A-A709-4A20-9453-BB141F39FCB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339725" y="6256338"/>
            <a:ext cx="21336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>
              <a:spcBef>
                <a:spcPct val="0"/>
              </a:spcBef>
            </a:pPr>
            <a:r>
              <a:rPr lang="en-US" sz="1050" b="1" noProof="0" smtClean="0"/>
              <a:t>Volvo Group Trucks Technology</a:t>
            </a:r>
            <a:endParaRPr lang="en-US" sz="900" noProof="0"/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9203" y="6618288"/>
            <a:ext cx="2405062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32424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787" r:id="rId11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lang="en-US" sz="3200" b="1" kern="1200" smtClean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1800"/>
        </a:spcBef>
        <a:buFont typeface="Symbol" pitchFamily="18" charset="2"/>
        <a:buChar char="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238" indent="-2508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425" indent="-317500" algn="l" defTabSz="914400" rtl="0" eaLnBrk="1" latinLnBrk="0" hangingPunct="1">
        <a:spcBef>
          <a:spcPts val="1800"/>
        </a:spcBef>
        <a:buSzPct val="90000"/>
        <a:buFont typeface="Arial" pitchFamily="34" charset="0"/>
        <a:buChar char="•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775" indent="-252413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9200" indent="-2127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01_VolvoAB_ppt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1025" y="0"/>
            <a:ext cx="4752975" cy="5191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680" y="1692965"/>
            <a:ext cx="8229600" cy="4133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marL="860425" lvl="2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grpSp>
        <p:nvGrpSpPr>
          <p:cNvPr id="7" name="Group 20"/>
          <p:cNvGrpSpPr>
            <a:grpSpLocks/>
          </p:cNvGrpSpPr>
          <p:nvPr/>
        </p:nvGrpSpPr>
        <p:grpSpPr bwMode="auto">
          <a:xfrm>
            <a:off x="0" y="6186488"/>
            <a:ext cx="9144000" cy="671512"/>
            <a:chOff x="0" y="3897"/>
            <a:chExt cx="5760" cy="423"/>
          </a:xfrm>
        </p:grpSpPr>
        <p:pic>
          <p:nvPicPr>
            <p:cNvPr id="8" name="Picture 18" descr="grått band nertill"/>
            <p:cNvPicPr>
              <a:picLocks noChangeAspect="1" noChangeArrowheads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3924"/>
              <a:ext cx="5022" cy="3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Line 11"/>
            <p:cNvSpPr>
              <a:spLocks noChangeShapeType="1"/>
            </p:cNvSpPr>
            <p:nvPr userDrawn="1"/>
          </p:nvSpPr>
          <p:spPr bwMode="auto">
            <a:xfrm>
              <a:off x="0" y="3897"/>
              <a:ext cx="5760" cy="0"/>
            </a:xfrm>
            <a:prstGeom prst="line">
              <a:avLst/>
            </a:prstGeom>
            <a:noFill/>
            <a:ln w="25400">
              <a:solidFill>
                <a:srgbClr val="000F6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noProof="0"/>
            </a:p>
          </p:txBody>
        </p:sp>
        <p:pic>
          <p:nvPicPr>
            <p:cNvPr id="10" name="Picture 12"/>
            <p:cNvPicPr>
              <a:picLocks noChangeAspect="1" noChangeArrowheads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5" y="4076"/>
              <a:ext cx="587" cy="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9725" y="6426200"/>
            <a:ext cx="6873875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39725" y="6619875"/>
            <a:ext cx="503238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240FB22A-A709-4A20-9453-BB141F39FCB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339725" y="6256338"/>
            <a:ext cx="21336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>
              <a:spcBef>
                <a:spcPct val="0"/>
              </a:spcBef>
            </a:pPr>
            <a:r>
              <a:rPr lang="en-US" sz="1050" b="1" noProof="0" smtClean="0"/>
              <a:t>Volvo Group Trucks Technology</a:t>
            </a:r>
            <a:endParaRPr lang="en-US" sz="900" noProof="0"/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9203" y="6618288"/>
            <a:ext cx="2405062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90898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lang="en-US" sz="3200" b="1" kern="1200" smtClean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1800"/>
        </a:spcBef>
        <a:buFont typeface="Symbol" pitchFamily="18" charset="2"/>
        <a:buChar char="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238" indent="-2508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425" indent="-317500" algn="l" defTabSz="914400" rtl="0" eaLnBrk="1" latinLnBrk="0" hangingPunct="1">
        <a:spcBef>
          <a:spcPts val="1800"/>
        </a:spcBef>
        <a:buSzPct val="90000"/>
        <a:buFont typeface="Arial" pitchFamily="34" charset="0"/>
        <a:buChar char="•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775" indent="-252413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9200" indent="-2127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10_Trucks_ppt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1025" y="0"/>
            <a:ext cx="4752975" cy="5191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680" y="1692965"/>
            <a:ext cx="8229600" cy="4133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marL="860425" lvl="2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grpSp>
        <p:nvGrpSpPr>
          <p:cNvPr id="7" name="Group 20"/>
          <p:cNvGrpSpPr>
            <a:grpSpLocks/>
          </p:cNvGrpSpPr>
          <p:nvPr/>
        </p:nvGrpSpPr>
        <p:grpSpPr bwMode="auto">
          <a:xfrm>
            <a:off x="0" y="6186488"/>
            <a:ext cx="9144000" cy="671512"/>
            <a:chOff x="0" y="3897"/>
            <a:chExt cx="5760" cy="423"/>
          </a:xfrm>
        </p:grpSpPr>
        <p:pic>
          <p:nvPicPr>
            <p:cNvPr id="8" name="Picture 18" descr="grått band nertill"/>
            <p:cNvPicPr>
              <a:picLocks noChangeAspect="1" noChangeArrowheads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3924"/>
              <a:ext cx="5022" cy="3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Line 11"/>
            <p:cNvSpPr>
              <a:spLocks noChangeShapeType="1"/>
            </p:cNvSpPr>
            <p:nvPr userDrawn="1"/>
          </p:nvSpPr>
          <p:spPr bwMode="auto">
            <a:xfrm>
              <a:off x="0" y="3897"/>
              <a:ext cx="5760" cy="0"/>
            </a:xfrm>
            <a:prstGeom prst="line">
              <a:avLst/>
            </a:prstGeom>
            <a:noFill/>
            <a:ln w="25400">
              <a:solidFill>
                <a:srgbClr val="000F6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noProof="0"/>
            </a:p>
          </p:txBody>
        </p:sp>
        <p:pic>
          <p:nvPicPr>
            <p:cNvPr id="10" name="Picture 12"/>
            <p:cNvPicPr>
              <a:picLocks noChangeAspect="1" noChangeArrowheads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5" y="4076"/>
              <a:ext cx="587" cy="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9725" y="6426200"/>
            <a:ext cx="6873875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39725" y="6619875"/>
            <a:ext cx="503238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240FB22A-A709-4A20-9453-BB141F39FCB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339725" y="6256338"/>
            <a:ext cx="21336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>
              <a:spcBef>
                <a:spcPct val="0"/>
              </a:spcBef>
            </a:pPr>
            <a:r>
              <a:rPr lang="en-US" sz="1050" b="1" noProof="0" smtClean="0"/>
              <a:t>Volvo Group Trucks Technology</a:t>
            </a:r>
            <a:endParaRPr lang="en-US" sz="900" noProof="0"/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9203" y="6618288"/>
            <a:ext cx="2405062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77281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lang="en-US" sz="3200" b="1" kern="1200" smtClean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1800"/>
        </a:spcBef>
        <a:buFont typeface="Symbol" pitchFamily="18" charset="2"/>
        <a:buChar char="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238" indent="-2508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425" indent="-317500" algn="l" defTabSz="914400" rtl="0" eaLnBrk="1" latinLnBrk="0" hangingPunct="1">
        <a:spcBef>
          <a:spcPts val="1800"/>
        </a:spcBef>
        <a:buSzPct val="90000"/>
        <a:buFont typeface="Arial" pitchFamily="34" charset="0"/>
        <a:buChar char="•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775" indent="-252413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9200" indent="-2127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33" descr="01_VolvoAB_IronMark_ppt_V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1025" y="0"/>
            <a:ext cx="4752975" cy="5191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680" y="1692965"/>
            <a:ext cx="8229600" cy="4133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marL="860425" lvl="2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grpSp>
        <p:nvGrpSpPr>
          <p:cNvPr id="7" name="Group 20"/>
          <p:cNvGrpSpPr>
            <a:grpSpLocks/>
          </p:cNvGrpSpPr>
          <p:nvPr/>
        </p:nvGrpSpPr>
        <p:grpSpPr bwMode="auto">
          <a:xfrm>
            <a:off x="0" y="6186488"/>
            <a:ext cx="9144000" cy="671512"/>
            <a:chOff x="0" y="3897"/>
            <a:chExt cx="5760" cy="423"/>
          </a:xfrm>
        </p:grpSpPr>
        <p:pic>
          <p:nvPicPr>
            <p:cNvPr id="8" name="Picture 18" descr="grått band nertill"/>
            <p:cNvPicPr>
              <a:picLocks noChangeAspect="1" noChangeArrowheads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3924"/>
              <a:ext cx="5022" cy="3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Line 11"/>
            <p:cNvSpPr>
              <a:spLocks noChangeShapeType="1"/>
            </p:cNvSpPr>
            <p:nvPr userDrawn="1"/>
          </p:nvSpPr>
          <p:spPr bwMode="auto">
            <a:xfrm>
              <a:off x="0" y="3897"/>
              <a:ext cx="5760" cy="0"/>
            </a:xfrm>
            <a:prstGeom prst="line">
              <a:avLst/>
            </a:prstGeom>
            <a:noFill/>
            <a:ln w="25400">
              <a:solidFill>
                <a:srgbClr val="000F6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noProof="0"/>
            </a:p>
          </p:txBody>
        </p:sp>
        <p:pic>
          <p:nvPicPr>
            <p:cNvPr id="10" name="Picture 12"/>
            <p:cNvPicPr>
              <a:picLocks noChangeAspect="1" noChangeArrowheads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5" y="4076"/>
              <a:ext cx="587" cy="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9725" y="6426200"/>
            <a:ext cx="6873875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39725" y="6619875"/>
            <a:ext cx="503238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240FB22A-A709-4A20-9453-BB141F39FCB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339725" y="6256338"/>
            <a:ext cx="21336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>
              <a:spcBef>
                <a:spcPct val="0"/>
              </a:spcBef>
            </a:pPr>
            <a:r>
              <a:rPr lang="en-US" sz="1050" b="1" noProof="0" smtClean="0"/>
              <a:t>Volvo Group Trucks Technology</a:t>
            </a:r>
            <a:endParaRPr lang="en-US" sz="900" noProof="0"/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9203" y="6618288"/>
            <a:ext cx="2405062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19234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lang="en-US" sz="3200" b="1" kern="1200" smtClean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1800"/>
        </a:spcBef>
        <a:buFont typeface="Symbol" pitchFamily="18" charset="2"/>
        <a:buChar char="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238" indent="-2508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425" indent="-317500" algn="l" defTabSz="914400" rtl="0" eaLnBrk="1" latinLnBrk="0" hangingPunct="1">
        <a:spcBef>
          <a:spcPts val="1800"/>
        </a:spcBef>
        <a:buSzPct val="90000"/>
        <a:buFont typeface="Arial" pitchFamily="34" charset="0"/>
        <a:buChar char="•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775" indent="-252413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9200" indent="-2127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06_Trucks_ppt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0550" y="-9525"/>
            <a:ext cx="4752975" cy="5191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680" y="1692965"/>
            <a:ext cx="8229600" cy="4133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marL="860425" lvl="2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grpSp>
        <p:nvGrpSpPr>
          <p:cNvPr id="7" name="Group 20"/>
          <p:cNvGrpSpPr>
            <a:grpSpLocks/>
          </p:cNvGrpSpPr>
          <p:nvPr/>
        </p:nvGrpSpPr>
        <p:grpSpPr bwMode="auto">
          <a:xfrm>
            <a:off x="0" y="6186488"/>
            <a:ext cx="9144000" cy="671512"/>
            <a:chOff x="0" y="3897"/>
            <a:chExt cx="5760" cy="423"/>
          </a:xfrm>
        </p:grpSpPr>
        <p:pic>
          <p:nvPicPr>
            <p:cNvPr id="8" name="Picture 18" descr="grått band nertill"/>
            <p:cNvPicPr>
              <a:picLocks noChangeAspect="1" noChangeArrowheads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3924"/>
              <a:ext cx="5022" cy="3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Line 11"/>
            <p:cNvSpPr>
              <a:spLocks noChangeShapeType="1"/>
            </p:cNvSpPr>
            <p:nvPr userDrawn="1"/>
          </p:nvSpPr>
          <p:spPr bwMode="auto">
            <a:xfrm>
              <a:off x="0" y="3897"/>
              <a:ext cx="5760" cy="0"/>
            </a:xfrm>
            <a:prstGeom prst="line">
              <a:avLst/>
            </a:prstGeom>
            <a:noFill/>
            <a:ln w="25400">
              <a:solidFill>
                <a:srgbClr val="000F6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noProof="0"/>
            </a:p>
          </p:txBody>
        </p:sp>
        <p:pic>
          <p:nvPicPr>
            <p:cNvPr id="10" name="Picture 12"/>
            <p:cNvPicPr>
              <a:picLocks noChangeAspect="1" noChangeArrowheads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5" y="4076"/>
              <a:ext cx="587" cy="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9725" y="6426200"/>
            <a:ext cx="6873875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39725" y="6619875"/>
            <a:ext cx="503238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240FB22A-A709-4A20-9453-BB141F39FCB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339725" y="6256338"/>
            <a:ext cx="21336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>
              <a:spcBef>
                <a:spcPct val="0"/>
              </a:spcBef>
            </a:pPr>
            <a:r>
              <a:rPr lang="en-US" sz="1050" b="1" noProof="0" smtClean="0"/>
              <a:t>Volvo Group Trucks Technology</a:t>
            </a:r>
            <a:endParaRPr lang="en-US" sz="900" noProof="0"/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9203" y="6618288"/>
            <a:ext cx="2405062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52561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lang="en-US" sz="3200" b="1" kern="1200" smtClean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1800"/>
        </a:spcBef>
        <a:buFont typeface="Symbol" pitchFamily="18" charset="2"/>
        <a:buChar char="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238" indent="-2508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425" indent="-317500" algn="l" defTabSz="914400" rtl="0" eaLnBrk="1" latinLnBrk="0" hangingPunct="1">
        <a:spcBef>
          <a:spcPts val="1800"/>
        </a:spcBef>
        <a:buSzPct val="90000"/>
        <a:buFont typeface="Arial" pitchFamily="34" charset="0"/>
        <a:buChar char="•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775" indent="-252413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9200" indent="-2127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01_Trucks_ppt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0550" y="-9525"/>
            <a:ext cx="4752975" cy="5191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680" y="1692965"/>
            <a:ext cx="8229600" cy="4133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marL="860425" lvl="2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grpSp>
        <p:nvGrpSpPr>
          <p:cNvPr id="7" name="Group 20"/>
          <p:cNvGrpSpPr>
            <a:grpSpLocks/>
          </p:cNvGrpSpPr>
          <p:nvPr/>
        </p:nvGrpSpPr>
        <p:grpSpPr bwMode="auto">
          <a:xfrm>
            <a:off x="0" y="6186488"/>
            <a:ext cx="9144000" cy="671512"/>
            <a:chOff x="0" y="3897"/>
            <a:chExt cx="5760" cy="423"/>
          </a:xfrm>
        </p:grpSpPr>
        <p:pic>
          <p:nvPicPr>
            <p:cNvPr id="8" name="Picture 18" descr="grått band nertill"/>
            <p:cNvPicPr>
              <a:picLocks noChangeAspect="1" noChangeArrowheads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3924"/>
              <a:ext cx="5022" cy="3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Line 11"/>
            <p:cNvSpPr>
              <a:spLocks noChangeShapeType="1"/>
            </p:cNvSpPr>
            <p:nvPr userDrawn="1"/>
          </p:nvSpPr>
          <p:spPr bwMode="auto">
            <a:xfrm>
              <a:off x="0" y="3897"/>
              <a:ext cx="5760" cy="0"/>
            </a:xfrm>
            <a:prstGeom prst="line">
              <a:avLst/>
            </a:prstGeom>
            <a:noFill/>
            <a:ln w="25400">
              <a:solidFill>
                <a:srgbClr val="000F6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noProof="0"/>
            </a:p>
          </p:txBody>
        </p:sp>
        <p:pic>
          <p:nvPicPr>
            <p:cNvPr id="10" name="Picture 12"/>
            <p:cNvPicPr>
              <a:picLocks noChangeAspect="1" noChangeArrowheads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5" y="4076"/>
              <a:ext cx="587" cy="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9725" y="6426200"/>
            <a:ext cx="6873875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39725" y="6619875"/>
            <a:ext cx="503238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240FB22A-A709-4A20-9453-BB141F39FCB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339725" y="6256338"/>
            <a:ext cx="21336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>
              <a:spcBef>
                <a:spcPct val="0"/>
              </a:spcBef>
            </a:pPr>
            <a:r>
              <a:rPr lang="en-US" sz="1050" b="1" noProof="0" smtClean="0"/>
              <a:t>Volvo Group Trucks Technology</a:t>
            </a:r>
            <a:endParaRPr lang="en-US" sz="900" noProof="0"/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9203" y="6618288"/>
            <a:ext cx="2405062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11719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lang="en-US" sz="3200" b="1" kern="1200" smtClean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1800"/>
        </a:spcBef>
        <a:buFont typeface="Symbol" pitchFamily="18" charset="2"/>
        <a:buChar char="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238" indent="-2508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425" indent="-317500" algn="l" defTabSz="914400" rtl="0" eaLnBrk="1" latinLnBrk="0" hangingPunct="1">
        <a:spcBef>
          <a:spcPts val="1800"/>
        </a:spcBef>
        <a:buSzPct val="90000"/>
        <a:buFont typeface="Arial" pitchFamily="34" charset="0"/>
        <a:buChar char="•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775" indent="-252413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9200" indent="-2127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6" descr="02_Trucks_ppt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1025" y="0"/>
            <a:ext cx="4752975" cy="5191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680" y="1692965"/>
            <a:ext cx="8229600" cy="4133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marL="860425" lvl="2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grpSp>
        <p:nvGrpSpPr>
          <p:cNvPr id="7" name="Group 20"/>
          <p:cNvGrpSpPr>
            <a:grpSpLocks/>
          </p:cNvGrpSpPr>
          <p:nvPr/>
        </p:nvGrpSpPr>
        <p:grpSpPr bwMode="auto">
          <a:xfrm>
            <a:off x="0" y="6186488"/>
            <a:ext cx="9144000" cy="671512"/>
            <a:chOff x="0" y="3897"/>
            <a:chExt cx="5760" cy="423"/>
          </a:xfrm>
        </p:grpSpPr>
        <p:pic>
          <p:nvPicPr>
            <p:cNvPr id="8" name="Picture 18" descr="grått band nertill"/>
            <p:cNvPicPr>
              <a:picLocks noChangeAspect="1" noChangeArrowheads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3924"/>
              <a:ext cx="5022" cy="3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Line 11"/>
            <p:cNvSpPr>
              <a:spLocks noChangeShapeType="1"/>
            </p:cNvSpPr>
            <p:nvPr userDrawn="1"/>
          </p:nvSpPr>
          <p:spPr bwMode="auto">
            <a:xfrm>
              <a:off x="0" y="3897"/>
              <a:ext cx="5760" cy="0"/>
            </a:xfrm>
            <a:prstGeom prst="line">
              <a:avLst/>
            </a:prstGeom>
            <a:noFill/>
            <a:ln w="25400">
              <a:solidFill>
                <a:srgbClr val="000F6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noProof="0"/>
            </a:p>
          </p:txBody>
        </p:sp>
        <p:pic>
          <p:nvPicPr>
            <p:cNvPr id="10" name="Picture 12"/>
            <p:cNvPicPr>
              <a:picLocks noChangeAspect="1" noChangeArrowheads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5" y="4076"/>
              <a:ext cx="587" cy="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9725" y="6426200"/>
            <a:ext cx="6873875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39725" y="6619875"/>
            <a:ext cx="503238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240FB22A-A709-4A20-9453-BB141F39FCB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339725" y="6256338"/>
            <a:ext cx="21336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>
              <a:spcBef>
                <a:spcPct val="0"/>
              </a:spcBef>
            </a:pPr>
            <a:r>
              <a:rPr lang="en-US" sz="1050" b="1" noProof="0" smtClean="0"/>
              <a:t>Volvo Group Trucks Technology</a:t>
            </a:r>
            <a:endParaRPr lang="en-US" sz="900" noProof="0"/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9203" y="6618288"/>
            <a:ext cx="2405062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7105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lang="en-US" sz="3200" b="1" kern="1200" smtClean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1800"/>
        </a:spcBef>
        <a:buFont typeface="Symbol" pitchFamily="18" charset="2"/>
        <a:buChar char="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238" indent="-2508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425" indent="-317500" algn="l" defTabSz="914400" rtl="0" eaLnBrk="1" latinLnBrk="0" hangingPunct="1">
        <a:spcBef>
          <a:spcPts val="1800"/>
        </a:spcBef>
        <a:buSzPct val="90000"/>
        <a:buFont typeface="Arial" pitchFamily="34" charset="0"/>
        <a:buChar char="•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775" indent="-252413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9200" indent="-2127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31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7850" y="-5742"/>
            <a:ext cx="6026150" cy="6132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680" y="1692965"/>
            <a:ext cx="8229600" cy="4133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marL="860425" lvl="2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grpSp>
        <p:nvGrpSpPr>
          <p:cNvPr id="7" name="Group 20"/>
          <p:cNvGrpSpPr>
            <a:grpSpLocks/>
          </p:cNvGrpSpPr>
          <p:nvPr/>
        </p:nvGrpSpPr>
        <p:grpSpPr bwMode="auto">
          <a:xfrm>
            <a:off x="0" y="6186488"/>
            <a:ext cx="9144000" cy="671512"/>
            <a:chOff x="0" y="3897"/>
            <a:chExt cx="5760" cy="423"/>
          </a:xfrm>
        </p:grpSpPr>
        <p:pic>
          <p:nvPicPr>
            <p:cNvPr id="8" name="Picture 18" descr="grått band nertill"/>
            <p:cNvPicPr>
              <a:picLocks noChangeAspect="1" noChangeArrowheads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3924"/>
              <a:ext cx="5022" cy="3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Line 11"/>
            <p:cNvSpPr>
              <a:spLocks noChangeShapeType="1"/>
            </p:cNvSpPr>
            <p:nvPr userDrawn="1"/>
          </p:nvSpPr>
          <p:spPr bwMode="auto">
            <a:xfrm>
              <a:off x="0" y="3897"/>
              <a:ext cx="5760" cy="0"/>
            </a:xfrm>
            <a:prstGeom prst="line">
              <a:avLst/>
            </a:prstGeom>
            <a:noFill/>
            <a:ln w="25400">
              <a:solidFill>
                <a:srgbClr val="000F6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noProof="0"/>
            </a:p>
          </p:txBody>
        </p:sp>
        <p:pic>
          <p:nvPicPr>
            <p:cNvPr id="10" name="Picture 12"/>
            <p:cNvPicPr>
              <a:picLocks noChangeAspect="1" noChangeArrowheads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5" y="4076"/>
              <a:ext cx="587" cy="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9725" y="6426200"/>
            <a:ext cx="6873875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39725" y="6619875"/>
            <a:ext cx="503238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240FB22A-A709-4A20-9453-BB141F39FCB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339725" y="6256338"/>
            <a:ext cx="21336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>
              <a:spcBef>
                <a:spcPct val="0"/>
              </a:spcBef>
            </a:pPr>
            <a:r>
              <a:rPr lang="en-US" sz="1050" b="1" noProof="0" smtClean="0"/>
              <a:t>Volvo Group Trucks Technology</a:t>
            </a:r>
            <a:endParaRPr lang="en-US" sz="900" noProof="0"/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9203" y="6618288"/>
            <a:ext cx="2405062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sv-SE" noProof="0" smtClean="0"/>
              <a:t>2012-04-16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97001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lang="en-US" sz="3200" b="1" kern="1200" smtClean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1800"/>
        </a:spcBef>
        <a:buFont typeface="Symbol" pitchFamily="18" charset="2"/>
        <a:buChar char="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238" indent="-2508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425" indent="-317500" algn="l" defTabSz="914400" rtl="0" eaLnBrk="1" latinLnBrk="0" hangingPunct="1">
        <a:spcBef>
          <a:spcPts val="1800"/>
        </a:spcBef>
        <a:buSzPct val="90000"/>
        <a:buFont typeface="Arial" pitchFamily="34" charset="0"/>
        <a:buChar char="•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775" indent="-252413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9200" indent="-2127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13" Type="http://schemas.openxmlformats.org/officeDocument/2006/relationships/image" Target="../media/image45.jpeg"/><Relationship Id="rId3" Type="http://schemas.openxmlformats.org/officeDocument/2006/relationships/image" Target="../media/image36.png"/><Relationship Id="rId7" Type="http://schemas.openxmlformats.org/officeDocument/2006/relationships/image" Target="../media/image39.png"/><Relationship Id="rId12" Type="http://schemas.openxmlformats.org/officeDocument/2006/relationships/image" Target="../media/image44.jpeg"/><Relationship Id="rId17" Type="http://schemas.openxmlformats.org/officeDocument/2006/relationships/image" Target="../media/image49.png"/><Relationship Id="rId2" Type="http://schemas.openxmlformats.org/officeDocument/2006/relationships/image" Target="../media/image35.png"/><Relationship Id="rId16" Type="http://schemas.openxmlformats.org/officeDocument/2006/relationships/image" Target="../media/image48.png"/><Relationship Id="rId1" Type="http://schemas.openxmlformats.org/officeDocument/2006/relationships/slideLayout" Target="../slideLayouts/slideLayout6.xml"/><Relationship Id="rId6" Type="http://schemas.microsoft.com/office/2007/relationships/hdphoto" Target="../media/hdphoto1.wdp"/><Relationship Id="rId11" Type="http://schemas.openxmlformats.org/officeDocument/2006/relationships/image" Target="../media/image43.png"/><Relationship Id="rId5" Type="http://schemas.openxmlformats.org/officeDocument/2006/relationships/image" Target="../media/image38.png"/><Relationship Id="rId15" Type="http://schemas.openxmlformats.org/officeDocument/2006/relationships/image" Target="../media/image47.png"/><Relationship Id="rId10" Type="http://schemas.openxmlformats.org/officeDocument/2006/relationships/image" Target="../media/image42.jpeg"/><Relationship Id="rId4" Type="http://schemas.openxmlformats.org/officeDocument/2006/relationships/image" Target="../media/image37.jpeg"/><Relationship Id="rId9" Type="http://schemas.openxmlformats.org/officeDocument/2006/relationships/image" Target="../media/image41.jpeg"/><Relationship Id="rId14" Type="http://schemas.openxmlformats.org/officeDocument/2006/relationships/image" Target="../media/image46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jpeg"/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12" Type="http://schemas.openxmlformats.org/officeDocument/2006/relationships/image" Target="../media/image41.jpe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4.png"/><Relationship Id="rId11" Type="http://schemas.openxmlformats.org/officeDocument/2006/relationships/image" Target="../media/image40.jpeg"/><Relationship Id="rId5" Type="http://schemas.openxmlformats.org/officeDocument/2006/relationships/image" Target="../media/image53.png"/><Relationship Id="rId10" Type="http://schemas.openxmlformats.org/officeDocument/2006/relationships/image" Target="../media/image45.jpeg"/><Relationship Id="rId4" Type="http://schemas.openxmlformats.org/officeDocument/2006/relationships/image" Target="../media/image52.png"/><Relationship Id="rId9" Type="http://schemas.openxmlformats.org/officeDocument/2006/relationships/image" Target="../media/image44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7" Type="http://schemas.openxmlformats.org/officeDocument/2006/relationships/image" Target="../media/image45.jpe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4.jpeg"/><Relationship Id="rId5" Type="http://schemas.openxmlformats.org/officeDocument/2006/relationships/image" Target="../media/image60.jpeg"/><Relationship Id="rId4" Type="http://schemas.openxmlformats.org/officeDocument/2006/relationships/image" Target="../media/image59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teamplace.volvo.com/sites/3p-Onboard-Telematics/Agile_at_OBT/Shared%20Documents/Forms/AllItems1.aspx?RootFolder=/sites/3p-Onboard-Telematics/Agile_at_OBT/Shared%20Documents/Role%20descriptions&amp;FolderCTID=0x012000BD0A9C739F4D0A46BAC11A40E5C442D6&amp;View=%7b88D267F4-0DFF-4C8E-8CFC-EBA1CACDDAA9%7d" TargetMode="Externa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6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Relationship Id="rId5" Type="http://schemas.openxmlformats.org/officeDocument/2006/relationships/slide" Target="slide11.xml"/><Relationship Id="rId4" Type="http://schemas.openxmlformats.org/officeDocument/2006/relationships/slide" Target="slide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image" Target="../media/image16.png"/><Relationship Id="rId3" Type="http://schemas.openxmlformats.org/officeDocument/2006/relationships/tags" Target="../tags/tag2.xml"/><Relationship Id="rId21" Type="http://schemas.openxmlformats.org/officeDocument/2006/relationships/image" Target="../media/image13.jpeg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image" Target="../media/image15.png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notesSlide" Target="../notesSlides/notesSlide1.xml"/><Relationship Id="rId29" Type="http://schemas.openxmlformats.org/officeDocument/2006/relationships/image" Target="../media/image19.png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image" Target="../media/image14.png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image" Target="../media/image12.emf"/><Relationship Id="rId28" Type="http://schemas.openxmlformats.org/officeDocument/2006/relationships/image" Target="../media/image18.png"/><Relationship Id="rId10" Type="http://schemas.openxmlformats.org/officeDocument/2006/relationships/tags" Target="../tags/tag9.xml"/><Relationship Id="rId19" Type="http://schemas.openxmlformats.org/officeDocument/2006/relationships/slideLayout" Target="../slideLayouts/slideLayout5.xml"/><Relationship Id="rId31" Type="http://schemas.openxmlformats.org/officeDocument/2006/relationships/image" Target="../media/image21.png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oleObject" Target="../embeddings/oleObject1.bin"/><Relationship Id="rId27" Type="http://schemas.openxmlformats.org/officeDocument/2006/relationships/image" Target="../media/image17.png"/><Relationship Id="rId30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slide" Target="slide11.xml"/><Relationship Id="rId4" Type="http://schemas.openxmlformats.org/officeDocument/2006/relationships/slide" Target="slide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13" Type="http://schemas.openxmlformats.org/officeDocument/2006/relationships/oleObject" Target="../embeddings/oleObject3.bin"/><Relationship Id="rId18" Type="http://schemas.openxmlformats.org/officeDocument/2006/relationships/slide" Target="slide3.xml"/><Relationship Id="rId3" Type="http://schemas.openxmlformats.org/officeDocument/2006/relationships/image" Target="../media/image24.jpeg"/><Relationship Id="rId7" Type="http://schemas.openxmlformats.org/officeDocument/2006/relationships/image" Target="../media/image28.jpeg"/><Relationship Id="rId12" Type="http://schemas.openxmlformats.org/officeDocument/2006/relationships/image" Target="../media/image33.jpeg"/><Relationship Id="rId17" Type="http://schemas.openxmlformats.org/officeDocument/2006/relationships/slide" Target="slide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1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27.jpeg"/><Relationship Id="rId11" Type="http://schemas.openxmlformats.org/officeDocument/2006/relationships/image" Target="../media/image32.jpeg"/><Relationship Id="rId5" Type="http://schemas.openxmlformats.org/officeDocument/2006/relationships/image" Target="../media/image26.jpeg"/><Relationship Id="rId15" Type="http://schemas.openxmlformats.org/officeDocument/2006/relationships/image" Target="../media/image34.jpeg"/><Relationship Id="rId10" Type="http://schemas.openxmlformats.org/officeDocument/2006/relationships/image" Target="../media/image31.jpeg"/><Relationship Id="rId19" Type="http://schemas.openxmlformats.org/officeDocument/2006/relationships/slide" Target="slide11.xml"/><Relationship Id="rId4" Type="http://schemas.openxmlformats.org/officeDocument/2006/relationships/image" Target="../media/image25.jpeg"/><Relationship Id="rId9" Type="http://schemas.openxmlformats.org/officeDocument/2006/relationships/image" Target="../media/image30.jpeg"/><Relationship Id="rId14" Type="http://schemas.openxmlformats.org/officeDocument/2006/relationships/image" Target="../media/image2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 smtClean="0"/>
              <a:t>On-board Telematics presentation</a:t>
            </a:r>
            <a:br>
              <a:rPr lang="sv-SE" dirty="0" smtClean="0"/>
            </a:br>
            <a:endParaRPr lang="sv-SE" sz="2000" b="0" dirty="0"/>
          </a:p>
        </p:txBody>
      </p:sp>
      <p:sp>
        <p:nvSpPr>
          <p:cNvPr id="4" name="Content Placeholder 1"/>
          <p:cNvSpPr txBox="1">
            <a:spLocks/>
          </p:cNvSpPr>
          <p:nvPr/>
        </p:nvSpPr>
        <p:spPr>
          <a:xfrm>
            <a:off x="2193236" y="4515675"/>
            <a:ext cx="6818242" cy="18718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spcBef>
                <a:spcPts val="1800"/>
              </a:spcBef>
              <a:buFont typeface="Symbol" pitchFamily="18" charset="2"/>
              <a:buNone/>
              <a:defRPr lang="en-US"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03238" indent="-250825" algn="l" defTabSz="914400" rtl="0" eaLnBrk="1" latinLnBrk="0" hangingPunct="1">
              <a:spcBef>
                <a:spcPts val="1800"/>
              </a:spcBef>
              <a:buClr>
                <a:schemeClr val="tx2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860425" indent="-317500" algn="l" defTabSz="914400" rtl="0" eaLnBrk="1" latinLnBrk="0" hangingPunct="1">
              <a:spcBef>
                <a:spcPts val="1800"/>
              </a:spcBef>
              <a:buSzPct val="90000"/>
              <a:buFont typeface="Arial" pitchFamily="34" charset="0"/>
              <a:buChar char="•"/>
              <a:defRPr lang="en-US" sz="2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93775" indent="-252413" algn="l" defTabSz="914400" rtl="0" eaLnBrk="1" latinLnBrk="0" hangingPunct="1">
              <a:spcBef>
                <a:spcPts val="1800"/>
              </a:spcBef>
              <a:buClr>
                <a:schemeClr val="tx2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219200" indent="-212725" algn="l" defTabSz="914400" rtl="0" eaLnBrk="1" latinLnBrk="0" hangingPunct="1">
              <a:spcBef>
                <a:spcPts val="1800"/>
              </a:spcBef>
              <a:buClr>
                <a:schemeClr val="tx2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sv-SE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 smtClean="0"/>
              <a:t>Vehicle Engineering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33878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3616079" y="6602918"/>
            <a:ext cx="3426932" cy="215900"/>
          </a:xfrm>
        </p:spPr>
        <p:txBody>
          <a:bodyPr/>
          <a:lstStyle/>
          <a:p>
            <a:r>
              <a:rPr lang="en-US" noProof="0" dirty="0" smtClean="0"/>
              <a:t>BF77110 OBT Development</a:t>
            </a:r>
            <a:endParaRPr lang="en-US" noProof="0" dirty="0"/>
          </a:p>
        </p:txBody>
      </p:sp>
      <p:cxnSp>
        <p:nvCxnSpPr>
          <p:cNvPr id="5" name="Straight Arrow Connector 4"/>
          <p:cNvCxnSpPr>
            <a:endCxn id="56" idx="1"/>
          </p:cNvCxnSpPr>
          <p:nvPr/>
        </p:nvCxnSpPr>
        <p:spPr>
          <a:xfrm flipV="1">
            <a:off x="4442366" y="2127535"/>
            <a:ext cx="2197376" cy="2416081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/>
          <p:cNvCxnSpPr/>
          <p:nvPr/>
        </p:nvCxnSpPr>
        <p:spPr>
          <a:xfrm flipV="1">
            <a:off x="4873043" y="3576245"/>
            <a:ext cx="1927412" cy="967370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/>
          <p:nvPr/>
        </p:nvCxnSpPr>
        <p:spPr>
          <a:xfrm flipV="1">
            <a:off x="4661717" y="3703210"/>
            <a:ext cx="1034502" cy="840405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61717" y="2967496"/>
            <a:ext cx="629088" cy="34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le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3200" b="1" kern="120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Global On-board Telematics Development</a:t>
            </a:r>
            <a:b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sv-SE" sz="1600" dirty="0" smtClean="0">
                <a:solidFill>
                  <a:schemeClr val="accent1">
                    <a:lumMod val="75000"/>
                  </a:schemeClr>
                </a:solidFill>
              </a:rPr>
              <a:t>Fleet management – Support to the driver</a:t>
            </a:r>
            <a:endParaRPr lang="sv-S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02609" y="2338693"/>
            <a:ext cx="1512168" cy="1001074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sv-SE" sz="1200" dirty="0" smtClean="0">
                <a:solidFill>
                  <a:schemeClr val="tx1"/>
                </a:solidFill>
              </a:rPr>
              <a:t>SID++</a:t>
            </a:r>
          </a:p>
          <a:p>
            <a:r>
              <a:rPr lang="sv-SE" sz="800" dirty="0" smtClean="0">
                <a:solidFill>
                  <a:schemeClr val="tx1"/>
                </a:solidFill>
              </a:rPr>
              <a:t>Display unit</a:t>
            </a:r>
          </a:p>
          <a:p>
            <a:r>
              <a:rPr lang="sv-SE" sz="800" dirty="0" smtClean="0">
                <a:solidFill>
                  <a:schemeClr val="tx1"/>
                </a:solidFill>
              </a:rPr>
              <a:t>HW: Actia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238783" y="4674988"/>
            <a:ext cx="2478564" cy="1300356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sv-SE" sz="1200" dirty="0" smtClean="0"/>
              <a:t>Fleet mgmt - Onboard func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800" dirty="0" smtClean="0"/>
              <a:t>Navig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800" dirty="0" smtClean="0"/>
              <a:t>Driver coaching (fuel efficient and safe driving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800" dirty="0" smtClean="0"/>
              <a:t>Driver time manag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800" dirty="0" smtClean="0"/>
              <a:t>Assistance reque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800" dirty="0" smtClean="0"/>
              <a:t>SMS, Mail and Fleet messag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800" dirty="0" smtClean="0"/>
              <a:t>Order manag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800" dirty="0" smtClean="0"/>
              <a:t>Tachograph data transfer to Back office</a:t>
            </a:r>
            <a:endParaRPr lang="sv-SE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900" dirty="0" smtClean="0"/>
              <a:t>Etc.</a:t>
            </a:r>
            <a:endParaRPr lang="sv-SE" sz="1050" dirty="0" smtClean="0"/>
          </a:p>
        </p:txBody>
      </p:sp>
      <p:sp>
        <p:nvSpPr>
          <p:cNvPr id="13" name="Rectangle 12"/>
          <p:cNvSpPr/>
          <p:nvPr/>
        </p:nvSpPr>
        <p:spPr>
          <a:xfrm>
            <a:off x="3811295" y="2342620"/>
            <a:ext cx="1512168" cy="1001074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sv-SE" sz="1200" dirty="0" smtClean="0">
                <a:solidFill>
                  <a:schemeClr val="tx1"/>
                </a:solidFill>
              </a:rPr>
              <a:t>TTU</a:t>
            </a:r>
          </a:p>
          <a:p>
            <a:r>
              <a:rPr lang="sv-SE" sz="800" dirty="0" smtClean="0">
                <a:solidFill>
                  <a:schemeClr val="tx1"/>
                </a:solidFill>
              </a:rPr>
              <a:t>Display &amp; applications</a:t>
            </a:r>
            <a:endParaRPr lang="sv-SE" sz="800" dirty="0">
              <a:solidFill>
                <a:schemeClr val="tx1"/>
              </a:solidFill>
            </a:endParaRPr>
          </a:p>
          <a:p>
            <a:r>
              <a:rPr lang="sv-SE" sz="800" dirty="0">
                <a:solidFill>
                  <a:schemeClr val="tx1"/>
                </a:solidFill>
              </a:rPr>
              <a:t>SW: </a:t>
            </a:r>
            <a:r>
              <a:rPr lang="sv-SE" sz="800" dirty="0" smtClean="0">
                <a:solidFill>
                  <a:schemeClr val="tx1"/>
                </a:solidFill>
              </a:rPr>
              <a:t>OBT</a:t>
            </a:r>
            <a:endParaRPr lang="sv-SE" sz="800" dirty="0">
              <a:solidFill>
                <a:schemeClr val="tx1"/>
              </a:solidFill>
            </a:endParaRPr>
          </a:p>
          <a:p>
            <a:r>
              <a:rPr lang="sv-SE" sz="800" dirty="0" smtClean="0">
                <a:solidFill>
                  <a:schemeClr val="tx1"/>
                </a:solidFill>
              </a:rPr>
              <a:t>OS &amp; BSP: OBT</a:t>
            </a:r>
            <a:endParaRPr lang="sv-SE" sz="800" dirty="0">
              <a:solidFill>
                <a:schemeClr val="tx1"/>
              </a:solidFill>
            </a:endParaRPr>
          </a:p>
          <a:p>
            <a:r>
              <a:rPr lang="sv-SE" sz="800" dirty="0">
                <a:solidFill>
                  <a:schemeClr val="tx1"/>
                </a:solidFill>
              </a:rPr>
              <a:t>HW: </a:t>
            </a:r>
            <a:r>
              <a:rPr lang="sv-SE" sz="800" dirty="0" smtClean="0">
                <a:solidFill>
                  <a:schemeClr val="tx1"/>
                </a:solidFill>
              </a:rPr>
              <a:t>Actia</a:t>
            </a:r>
            <a:endParaRPr lang="sv-SE" sz="800" dirty="0">
              <a:solidFill>
                <a:schemeClr val="tx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15740" y="3361389"/>
            <a:ext cx="111440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 dirty="0" smtClean="0"/>
              <a:t>Dynafleet, Optifleet</a:t>
            </a:r>
            <a:endParaRPr lang="sv-SE" sz="900" dirty="0"/>
          </a:p>
        </p:txBody>
      </p:sp>
      <p:sp>
        <p:nvSpPr>
          <p:cNvPr id="15" name="TextBox 14"/>
          <p:cNvSpPr txBox="1"/>
          <p:nvPr/>
        </p:nvSpPr>
        <p:spPr>
          <a:xfrm>
            <a:off x="2321963" y="3367911"/>
            <a:ext cx="111440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 dirty="0" smtClean="0"/>
              <a:t>Dynafleet, Optifleet</a:t>
            </a:r>
            <a:endParaRPr lang="sv-SE" sz="900" dirty="0"/>
          </a:p>
        </p:txBody>
      </p:sp>
      <p:sp>
        <p:nvSpPr>
          <p:cNvPr id="16" name="TextBox 15"/>
          <p:cNvSpPr txBox="1"/>
          <p:nvPr/>
        </p:nvSpPr>
        <p:spPr>
          <a:xfrm>
            <a:off x="3840346" y="3373034"/>
            <a:ext cx="111440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 dirty="0" smtClean="0"/>
              <a:t>Dynafleet, Optifleet</a:t>
            </a:r>
            <a:endParaRPr lang="sv-SE" sz="900" dirty="0"/>
          </a:p>
        </p:txBody>
      </p:sp>
      <p:sp>
        <p:nvSpPr>
          <p:cNvPr id="17" name="TextBox 16"/>
          <p:cNvSpPr txBox="1"/>
          <p:nvPr/>
        </p:nvSpPr>
        <p:spPr>
          <a:xfrm>
            <a:off x="3128176" y="2037027"/>
            <a:ext cx="41069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 dirty="0" smtClean="0"/>
              <a:t>UDIS</a:t>
            </a:r>
            <a:endParaRPr lang="sv-SE" sz="900" dirty="0"/>
          </a:p>
        </p:txBody>
      </p:sp>
      <p:sp>
        <p:nvSpPr>
          <p:cNvPr id="18" name="Rectangle 17"/>
          <p:cNvSpPr/>
          <p:nvPr/>
        </p:nvSpPr>
        <p:spPr>
          <a:xfrm>
            <a:off x="6967305" y="2338693"/>
            <a:ext cx="1512168" cy="1001074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sv-SE" sz="1200" dirty="0" smtClean="0">
                <a:solidFill>
                  <a:schemeClr val="tx1"/>
                </a:solidFill>
              </a:rPr>
              <a:t>IC</a:t>
            </a:r>
            <a:r>
              <a:rPr lang="sv-SE" dirty="0" smtClean="0">
                <a:solidFill>
                  <a:schemeClr val="tx1"/>
                </a:solidFill>
              </a:rPr>
              <a:t> </a:t>
            </a:r>
            <a:r>
              <a:rPr lang="sv-SE" sz="1000" dirty="0" smtClean="0">
                <a:solidFill>
                  <a:schemeClr val="tx1"/>
                </a:solidFill>
              </a:rPr>
              <a:t>– UD</a:t>
            </a:r>
            <a:endParaRPr lang="sv-SE" dirty="0" smtClean="0">
              <a:solidFill>
                <a:schemeClr val="tx1"/>
              </a:solidFill>
            </a:endParaRPr>
          </a:p>
          <a:p>
            <a:r>
              <a:rPr lang="sv-SE" sz="800" dirty="0" smtClean="0">
                <a:solidFill>
                  <a:schemeClr val="tx1"/>
                </a:solidFill>
              </a:rPr>
              <a:t>Display unit</a:t>
            </a:r>
            <a:endParaRPr lang="sv-SE" sz="800" dirty="0">
              <a:solidFill>
                <a:schemeClr val="tx1"/>
              </a:solidFill>
            </a:endParaRPr>
          </a:p>
          <a:p>
            <a:r>
              <a:rPr lang="sv-SE" sz="800" dirty="0">
                <a:solidFill>
                  <a:schemeClr val="tx1"/>
                </a:solidFill>
              </a:rPr>
              <a:t>SW: </a:t>
            </a:r>
          </a:p>
          <a:p>
            <a:r>
              <a:rPr lang="sv-SE" sz="800" dirty="0" smtClean="0">
                <a:solidFill>
                  <a:schemeClr val="tx1"/>
                </a:solidFill>
              </a:rPr>
              <a:t>HW</a:t>
            </a:r>
            <a:r>
              <a:rPr lang="sv-SE" sz="800" dirty="0">
                <a:solidFill>
                  <a:schemeClr val="tx1"/>
                </a:solidFill>
              </a:rPr>
              <a:t>: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90089" y="5816333"/>
            <a:ext cx="111440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 dirty="0" smtClean="0"/>
              <a:t>Dynafleet, Optifleet</a:t>
            </a:r>
            <a:endParaRPr lang="sv-SE" sz="900" dirty="0"/>
          </a:p>
        </p:txBody>
      </p:sp>
      <p:sp>
        <p:nvSpPr>
          <p:cNvPr id="20" name="TextBox 19"/>
          <p:cNvSpPr txBox="1"/>
          <p:nvPr/>
        </p:nvSpPr>
        <p:spPr>
          <a:xfrm>
            <a:off x="6991669" y="3367911"/>
            <a:ext cx="41069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 dirty="0" smtClean="0"/>
              <a:t>UDIS</a:t>
            </a:r>
            <a:endParaRPr lang="sv-SE" sz="900" dirty="0"/>
          </a:p>
        </p:txBody>
      </p:sp>
      <p:sp>
        <p:nvSpPr>
          <p:cNvPr id="21" name="Rectangle 20"/>
          <p:cNvSpPr/>
          <p:nvPr/>
        </p:nvSpPr>
        <p:spPr>
          <a:xfrm>
            <a:off x="5383129" y="2342620"/>
            <a:ext cx="1512168" cy="1001074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sv-SE" sz="1200" dirty="0" smtClean="0">
                <a:solidFill>
                  <a:schemeClr val="tx1"/>
                </a:solidFill>
              </a:rPr>
              <a:t>SEM</a:t>
            </a:r>
          </a:p>
          <a:p>
            <a:r>
              <a:rPr lang="sv-SE" sz="800" dirty="0">
                <a:solidFill>
                  <a:schemeClr val="tx1"/>
                </a:solidFill>
              </a:rPr>
              <a:t>Display &amp; </a:t>
            </a:r>
            <a:r>
              <a:rPr lang="sv-SE" sz="800" dirty="0" smtClean="0">
                <a:solidFill>
                  <a:schemeClr val="tx1"/>
                </a:solidFill>
              </a:rPr>
              <a:t>applications</a:t>
            </a:r>
          </a:p>
          <a:p>
            <a:r>
              <a:rPr lang="sv-SE" sz="800" dirty="0" smtClean="0">
                <a:solidFill>
                  <a:schemeClr val="tx1"/>
                </a:solidFill>
              </a:rPr>
              <a:t>SW</a:t>
            </a:r>
            <a:r>
              <a:rPr lang="sv-SE" sz="800" dirty="0">
                <a:solidFill>
                  <a:schemeClr val="tx1"/>
                </a:solidFill>
              </a:rPr>
              <a:t>: </a:t>
            </a:r>
          </a:p>
          <a:p>
            <a:r>
              <a:rPr lang="sv-SE" sz="800" dirty="0">
                <a:solidFill>
                  <a:schemeClr val="tx1"/>
                </a:solidFill>
              </a:rPr>
              <a:t>HW: 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448354" y="3373034"/>
            <a:ext cx="111440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 dirty="0" smtClean="0"/>
              <a:t>Dynafleet, Optifleet</a:t>
            </a:r>
            <a:endParaRPr lang="sv-SE" sz="900" dirty="0"/>
          </a:p>
        </p:txBody>
      </p:sp>
      <p:grpSp>
        <p:nvGrpSpPr>
          <p:cNvPr id="23" name="Group 22"/>
          <p:cNvGrpSpPr/>
          <p:nvPr/>
        </p:nvGrpSpPr>
        <p:grpSpPr>
          <a:xfrm>
            <a:off x="690089" y="5195946"/>
            <a:ext cx="1160029" cy="608789"/>
            <a:chOff x="690089" y="5195946"/>
            <a:chExt cx="1160029" cy="608789"/>
          </a:xfrm>
        </p:grpSpPr>
        <p:pic>
          <p:nvPicPr>
            <p:cNvPr id="24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8895" y="5243458"/>
              <a:ext cx="283887" cy="2473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" name="Rectangle 24"/>
            <p:cNvSpPr/>
            <p:nvPr/>
          </p:nvSpPr>
          <p:spPr>
            <a:xfrm>
              <a:off x="690089" y="5195946"/>
              <a:ext cx="1160029" cy="608789"/>
            </a:xfrm>
            <a:prstGeom prst="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r>
                <a:rPr lang="sv-SE" sz="1200" dirty="0" smtClean="0">
                  <a:solidFill>
                    <a:schemeClr val="tx1"/>
                  </a:solidFill>
                </a:rPr>
                <a:t>Keyboard</a:t>
              </a:r>
            </a:p>
            <a:p>
              <a:r>
                <a:rPr lang="sv-SE" sz="700" dirty="0" smtClean="0">
                  <a:solidFill>
                    <a:schemeClr val="tx1"/>
                  </a:solidFill>
                </a:rPr>
                <a:t>HW: Actia</a:t>
              </a:r>
              <a:endParaRPr lang="sv-SE" sz="700" dirty="0">
                <a:solidFill>
                  <a:schemeClr val="tx1"/>
                </a:solidFill>
              </a:endParaRPr>
            </a:p>
          </p:txBody>
        </p:sp>
      </p:grpSp>
      <p:sp>
        <p:nvSpPr>
          <p:cNvPr id="26" name="TextBox 25"/>
          <p:cNvSpPr txBox="1"/>
          <p:nvPr/>
        </p:nvSpPr>
        <p:spPr>
          <a:xfrm>
            <a:off x="690089" y="4873247"/>
            <a:ext cx="111440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 dirty="0" smtClean="0"/>
              <a:t>Dynafleet, Optifleet</a:t>
            </a:r>
            <a:endParaRPr lang="sv-SE" sz="900" dirty="0"/>
          </a:p>
        </p:txBody>
      </p:sp>
      <p:sp>
        <p:nvSpPr>
          <p:cNvPr id="27" name="TextBox 26"/>
          <p:cNvSpPr txBox="1"/>
          <p:nvPr/>
        </p:nvSpPr>
        <p:spPr>
          <a:xfrm>
            <a:off x="3025080" y="5937151"/>
            <a:ext cx="262283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 dirty="0" smtClean="0"/>
              <a:t>Dynafleet, Optifleet, Volvo Link, VAS, AVT Fleet, etc.</a:t>
            </a:r>
            <a:endParaRPr lang="sv-SE" sz="900" dirty="0"/>
          </a:p>
        </p:txBody>
      </p:sp>
      <p:sp>
        <p:nvSpPr>
          <p:cNvPr id="28" name="TextBox 27"/>
          <p:cNvSpPr txBox="1"/>
          <p:nvPr/>
        </p:nvSpPr>
        <p:spPr>
          <a:xfrm>
            <a:off x="1327676" y="2049470"/>
            <a:ext cx="83869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 dirty="0" smtClean="0"/>
              <a:t>UDIS, Japan</a:t>
            </a:r>
            <a:endParaRPr lang="sv-SE" sz="900" dirty="0"/>
          </a:p>
        </p:txBody>
      </p:sp>
      <p:cxnSp>
        <p:nvCxnSpPr>
          <p:cNvPr id="29" name="Straight Arrow Connector 28"/>
          <p:cNvCxnSpPr/>
          <p:nvPr/>
        </p:nvCxnSpPr>
        <p:spPr>
          <a:xfrm flipH="1" flipV="1">
            <a:off x="2321963" y="4289457"/>
            <a:ext cx="1838112" cy="254158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 flipV="1">
            <a:off x="4284836" y="3625489"/>
            <a:ext cx="124761" cy="918126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" descr="\\Vcn.ds.volvo.net\3p-got\home05\T0C1712\My Documents\0. GTT OBT Functions\ECU pictures\SID++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92119" y="2873153"/>
            <a:ext cx="591088" cy="443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5" descr="\\Vcn.ds.volvo.net\3p-got\home05\T0C1712\My Documents\0. GTT OBT Functions\ECU pictures\SID High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23576" y="2797336"/>
            <a:ext cx="973505" cy="730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32439" y="2772873"/>
            <a:ext cx="714375" cy="538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4" name="Straight Arrow Connector 33"/>
          <p:cNvCxnSpPr/>
          <p:nvPr/>
        </p:nvCxnSpPr>
        <p:spPr>
          <a:xfrm flipH="1" flipV="1">
            <a:off x="1311028" y="3606213"/>
            <a:ext cx="1" cy="229049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 flipV="1">
            <a:off x="1458693" y="3576245"/>
            <a:ext cx="701705" cy="250181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oup 35"/>
          <p:cNvGrpSpPr/>
          <p:nvPr/>
        </p:nvGrpSpPr>
        <p:grpSpPr>
          <a:xfrm>
            <a:off x="3128118" y="1024947"/>
            <a:ext cx="2135946" cy="1001074"/>
            <a:chOff x="5068369" y="1131654"/>
            <a:chExt cx="1713856" cy="1001074"/>
          </a:xfrm>
        </p:grpSpPr>
        <p:grpSp>
          <p:nvGrpSpPr>
            <p:cNvPr id="37" name="Group 36"/>
            <p:cNvGrpSpPr/>
            <p:nvPr/>
          </p:nvGrpSpPr>
          <p:grpSpPr>
            <a:xfrm>
              <a:off x="5068369" y="1131654"/>
              <a:ext cx="1713856" cy="1001074"/>
              <a:chOff x="4969491" y="1367039"/>
              <a:chExt cx="1713856" cy="1001074"/>
            </a:xfrm>
          </p:grpSpPr>
          <p:sp>
            <p:nvSpPr>
              <p:cNvPr id="39" name="Rectangle 38"/>
              <p:cNvSpPr/>
              <p:nvPr/>
            </p:nvSpPr>
            <p:spPr>
              <a:xfrm>
                <a:off x="4969491" y="1367039"/>
                <a:ext cx="1713856" cy="1001074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r>
                  <a:rPr lang="sv-SE" sz="1200" dirty="0" smtClean="0">
                    <a:solidFill>
                      <a:schemeClr val="tx1"/>
                    </a:solidFill>
                  </a:rPr>
                  <a:t>UD TU</a:t>
                </a:r>
              </a:p>
              <a:p>
                <a:r>
                  <a:rPr lang="sv-SE" sz="800" dirty="0" smtClean="0">
                    <a:solidFill>
                      <a:schemeClr val="tx1"/>
                    </a:solidFill>
                  </a:rPr>
                  <a:t>Display &amp; applications</a:t>
                </a:r>
              </a:p>
              <a:p>
                <a:r>
                  <a:rPr lang="sv-SE" sz="800" dirty="0" smtClean="0">
                    <a:solidFill>
                      <a:schemeClr val="tx1"/>
                    </a:solidFill>
                  </a:rPr>
                  <a:t>Modem, GPS</a:t>
                </a:r>
                <a:endParaRPr lang="sv-SE" sz="800" dirty="0">
                  <a:solidFill>
                    <a:schemeClr val="tx1"/>
                  </a:solidFill>
                </a:endParaRPr>
              </a:p>
              <a:p>
                <a:r>
                  <a:rPr lang="sv-SE" sz="800" dirty="0">
                    <a:solidFill>
                      <a:schemeClr val="tx1"/>
                    </a:solidFill>
                  </a:rPr>
                  <a:t>SW: </a:t>
                </a:r>
                <a:r>
                  <a:rPr lang="sv-SE" sz="800" dirty="0" smtClean="0">
                    <a:solidFill>
                      <a:schemeClr val="tx1"/>
                    </a:solidFill>
                  </a:rPr>
                  <a:t>Fujisoft</a:t>
                </a:r>
                <a:endParaRPr lang="sv-SE" sz="800" dirty="0">
                  <a:solidFill>
                    <a:schemeClr val="tx1"/>
                  </a:solidFill>
                </a:endParaRPr>
              </a:p>
              <a:p>
                <a:r>
                  <a:rPr lang="sv-SE" sz="800" dirty="0" smtClean="0">
                    <a:solidFill>
                      <a:schemeClr val="tx1"/>
                    </a:solidFill>
                  </a:rPr>
                  <a:t>HW: Actia </a:t>
                </a:r>
                <a:endParaRPr lang="sv-SE" sz="80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40" name="Picture 1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946630" y="2109309"/>
                <a:ext cx="709029" cy="2051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38" name="Picture 2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75263" y="1174301"/>
              <a:ext cx="279274" cy="243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1" name="Group 40"/>
          <p:cNvGrpSpPr/>
          <p:nvPr/>
        </p:nvGrpSpPr>
        <p:grpSpPr>
          <a:xfrm>
            <a:off x="697992" y="3874645"/>
            <a:ext cx="1512168" cy="1001074"/>
            <a:chOff x="697992" y="3633652"/>
            <a:chExt cx="1512168" cy="1001074"/>
          </a:xfrm>
        </p:grpSpPr>
        <p:pic>
          <p:nvPicPr>
            <p:cNvPr id="42" name="Picture 4" descr="\\Vcn.ds.volvo.net\3p-got\home05\T0C1712\My Documents\0. GTT OBT Functions\ECU pictures\TESP.jp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47021" y="4283514"/>
              <a:ext cx="429127" cy="3218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3" name="Group 42"/>
            <p:cNvGrpSpPr/>
            <p:nvPr/>
          </p:nvGrpSpPr>
          <p:grpSpPr>
            <a:xfrm>
              <a:off x="697992" y="3633652"/>
              <a:ext cx="1512168" cy="1001074"/>
              <a:chOff x="690089" y="3614416"/>
              <a:chExt cx="1512168" cy="1001074"/>
            </a:xfrm>
          </p:grpSpPr>
          <p:sp>
            <p:nvSpPr>
              <p:cNvPr id="44" name="Rectangle 43"/>
              <p:cNvSpPr/>
              <p:nvPr/>
            </p:nvSpPr>
            <p:spPr>
              <a:xfrm>
                <a:off x="690089" y="3614416"/>
                <a:ext cx="1512168" cy="1001074"/>
              </a:xfrm>
              <a:prstGeom prst="rect">
                <a:avLst/>
              </a:prstGeom>
              <a:noFill/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r>
                  <a:rPr lang="sv-SE" sz="1200" dirty="0" smtClean="0">
                    <a:solidFill>
                      <a:schemeClr val="tx1"/>
                    </a:solidFill>
                  </a:rPr>
                  <a:t>TESP</a:t>
                </a:r>
              </a:p>
              <a:p>
                <a:r>
                  <a:rPr lang="sv-SE" sz="800" dirty="0" smtClean="0">
                    <a:solidFill>
                      <a:schemeClr val="tx1"/>
                    </a:solidFill>
                  </a:rPr>
                  <a:t>Applications</a:t>
                </a:r>
              </a:p>
              <a:p>
                <a:r>
                  <a:rPr lang="sv-SE" sz="800" dirty="0" smtClean="0">
                    <a:solidFill>
                      <a:schemeClr val="tx1"/>
                    </a:solidFill>
                  </a:rPr>
                  <a:t>SW: OBT</a:t>
                </a:r>
              </a:p>
              <a:p>
                <a:r>
                  <a:rPr lang="sv-SE" sz="800" dirty="0">
                    <a:solidFill>
                      <a:schemeClr val="tx1"/>
                    </a:solidFill>
                  </a:rPr>
                  <a:t>OS &amp; BSP: OHB Systems</a:t>
                </a:r>
              </a:p>
              <a:p>
                <a:r>
                  <a:rPr lang="sv-SE" sz="800" dirty="0" smtClean="0">
                    <a:solidFill>
                      <a:schemeClr val="tx1"/>
                    </a:solidFill>
                  </a:rPr>
                  <a:t>Navi core: ALK</a:t>
                </a:r>
              </a:p>
              <a:p>
                <a:r>
                  <a:rPr lang="sv-SE" sz="800" dirty="0" smtClean="0">
                    <a:solidFill>
                      <a:schemeClr val="tx1"/>
                    </a:solidFill>
                  </a:rPr>
                  <a:t>HW: OHB Systems</a:t>
                </a:r>
                <a:endParaRPr lang="sv-SE" sz="80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45" name="Picture 2"/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17112" y="3675919"/>
                <a:ext cx="335383" cy="2922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grpSp>
        <p:nvGrpSpPr>
          <p:cNvPr id="47" name="Group 46"/>
          <p:cNvGrpSpPr/>
          <p:nvPr/>
        </p:nvGrpSpPr>
        <p:grpSpPr>
          <a:xfrm>
            <a:off x="3086790" y="4620243"/>
            <a:ext cx="2269989" cy="1311506"/>
            <a:chOff x="3516297" y="5112165"/>
            <a:chExt cx="1936605" cy="1311506"/>
          </a:xfrm>
        </p:grpSpPr>
        <p:pic>
          <p:nvPicPr>
            <p:cNvPr id="49" name="Picture 48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16200000">
              <a:off x="4660967" y="5627658"/>
              <a:ext cx="671265" cy="89502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0" name="Rectangle 49"/>
            <p:cNvSpPr/>
            <p:nvPr/>
          </p:nvSpPr>
          <p:spPr>
            <a:xfrm>
              <a:off x="3516297" y="5112165"/>
              <a:ext cx="1936605" cy="1311506"/>
            </a:xfrm>
            <a:prstGeom prst="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r>
                <a:rPr lang="sv-SE" sz="1200" dirty="0" smtClean="0">
                  <a:solidFill>
                    <a:schemeClr val="tx1"/>
                  </a:solidFill>
                </a:rPr>
                <a:t>TGW 1, 2, 2.1</a:t>
              </a:r>
            </a:p>
            <a:p>
              <a:r>
                <a:rPr lang="sv-SE" sz="800" dirty="0" smtClean="0">
                  <a:solidFill>
                    <a:schemeClr val="tx1"/>
                  </a:solidFill>
                </a:rPr>
                <a:t>Applications</a:t>
              </a:r>
            </a:p>
            <a:p>
              <a:r>
                <a:rPr lang="sv-SE" sz="800" dirty="0" smtClean="0">
                  <a:solidFill>
                    <a:schemeClr val="tx1"/>
                  </a:solidFill>
                </a:rPr>
                <a:t>Communication (GPRS, 2G/3G, WLAN)</a:t>
              </a:r>
            </a:p>
            <a:p>
              <a:r>
                <a:rPr lang="sv-SE" sz="800" dirty="0" smtClean="0">
                  <a:solidFill>
                    <a:schemeClr val="tx1"/>
                  </a:solidFill>
                </a:rPr>
                <a:t>Positioning (GPS)</a:t>
              </a:r>
            </a:p>
            <a:p>
              <a:r>
                <a:rPr lang="sv-SE" sz="800" dirty="0" smtClean="0">
                  <a:solidFill>
                    <a:schemeClr val="tx1"/>
                  </a:solidFill>
                </a:rPr>
                <a:t>SW: OBT</a:t>
              </a:r>
            </a:p>
            <a:p>
              <a:r>
                <a:rPr lang="sv-SE" sz="800" dirty="0" smtClean="0">
                  <a:solidFill>
                    <a:schemeClr val="tx1"/>
                  </a:solidFill>
                </a:rPr>
                <a:t>OS &amp; BSP: Enea/OBT</a:t>
              </a:r>
            </a:p>
            <a:p>
              <a:r>
                <a:rPr lang="sv-SE" sz="800" dirty="0" smtClean="0">
                  <a:solidFill>
                    <a:schemeClr val="tx1"/>
                  </a:solidFill>
                </a:rPr>
                <a:t>HW: Actia</a:t>
              </a:r>
            </a:p>
            <a:p>
              <a:pPr marL="171450" indent="-171450">
                <a:buFontTx/>
                <a:buChar char="-"/>
              </a:pPr>
              <a:endParaRPr lang="sv-SE" sz="800" dirty="0" smtClean="0">
                <a:solidFill>
                  <a:schemeClr val="tx1"/>
                </a:solidFill>
              </a:endParaRPr>
            </a:p>
            <a:p>
              <a:endParaRPr lang="sv-SE" sz="8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48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18391" y="4674988"/>
            <a:ext cx="366443" cy="272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1" name="Group 50"/>
          <p:cNvGrpSpPr/>
          <p:nvPr/>
        </p:nvGrpSpPr>
        <p:grpSpPr>
          <a:xfrm>
            <a:off x="6649267" y="998404"/>
            <a:ext cx="1512168" cy="1001074"/>
            <a:chOff x="2721895" y="1079491"/>
            <a:chExt cx="1512168" cy="1001074"/>
          </a:xfrm>
        </p:grpSpPr>
        <p:pic>
          <p:nvPicPr>
            <p:cNvPr id="52" name="Picture 2" descr="Fuel Economy Customer"/>
            <p:cNvPicPr>
              <a:picLocks noChangeAspect="1" noChangeArrowheads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550693" y="1627851"/>
              <a:ext cx="645622" cy="4284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3" name="Rectangle 52"/>
            <p:cNvSpPr/>
            <p:nvPr/>
          </p:nvSpPr>
          <p:spPr>
            <a:xfrm>
              <a:off x="2721895" y="1079491"/>
              <a:ext cx="1512168" cy="1001074"/>
            </a:xfrm>
            <a:prstGeom prst="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r>
                <a:rPr lang="sv-SE" sz="1200" dirty="0" smtClean="0">
                  <a:solidFill>
                    <a:schemeClr val="tx1"/>
                  </a:solidFill>
                </a:rPr>
                <a:t>IC </a:t>
              </a:r>
              <a:r>
                <a:rPr lang="sv-SE" sz="1000" dirty="0" smtClean="0">
                  <a:solidFill>
                    <a:schemeClr val="tx1"/>
                  </a:solidFill>
                </a:rPr>
                <a:t>- VTNA</a:t>
              </a:r>
              <a:endParaRPr lang="sv-SE" dirty="0" smtClean="0">
                <a:solidFill>
                  <a:schemeClr val="tx1"/>
                </a:solidFill>
              </a:endParaRPr>
            </a:p>
            <a:p>
              <a:r>
                <a:rPr lang="sv-SE" sz="800" dirty="0" smtClean="0">
                  <a:solidFill>
                    <a:schemeClr val="tx1"/>
                  </a:solidFill>
                </a:rPr>
                <a:t>Display unit</a:t>
              </a:r>
              <a:endParaRPr lang="sv-SE" sz="800" dirty="0">
                <a:solidFill>
                  <a:schemeClr val="tx1"/>
                </a:solidFill>
              </a:endParaRPr>
            </a:p>
            <a:p>
              <a:r>
                <a:rPr lang="sv-SE" sz="800" dirty="0">
                  <a:solidFill>
                    <a:schemeClr val="tx1"/>
                  </a:solidFill>
                </a:rPr>
                <a:t>SW: </a:t>
              </a:r>
            </a:p>
            <a:p>
              <a:r>
                <a:rPr lang="sv-SE" sz="800" dirty="0">
                  <a:solidFill>
                    <a:schemeClr val="tx1"/>
                  </a:solidFill>
                </a:rPr>
                <a:t>HW: </a:t>
              </a:r>
            </a:p>
          </p:txBody>
        </p:sp>
      </p:grpSp>
      <p:pic>
        <p:nvPicPr>
          <p:cNvPr id="54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18390" y="2387522"/>
            <a:ext cx="366443" cy="272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5" name="Rectangle 54"/>
          <p:cNvSpPr/>
          <p:nvPr/>
        </p:nvSpPr>
        <p:spPr>
          <a:xfrm>
            <a:off x="2268996" y="2338693"/>
            <a:ext cx="1512168" cy="1001074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sv-SE" sz="1200" dirty="0" smtClean="0">
                <a:solidFill>
                  <a:schemeClr val="tx1"/>
                </a:solidFill>
              </a:rPr>
              <a:t>SID High</a:t>
            </a:r>
          </a:p>
          <a:p>
            <a:r>
              <a:rPr lang="sv-SE" sz="800" dirty="0" smtClean="0">
                <a:solidFill>
                  <a:schemeClr val="tx1"/>
                </a:solidFill>
              </a:rPr>
              <a:t>Display unit</a:t>
            </a:r>
          </a:p>
          <a:p>
            <a:r>
              <a:rPr lang="sv-SE" sz="800" dirty="0" smtClean="0">
                <a:solidFill>
                  <a:schemeClr val="tx1"/>
                </a:solidFill>
              </a:rPr>
              <a:t>HW: Continental</a:t>
            </a:r>
            <a:endParaRPr lang="sv-SE" sz="800" dirty="0">
              <a:solidFill>
                <a:schemeClr val="tx1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6639742" y="2012119"/>
            <a:ext cx="68480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 dirty="0" smtClean="0"/>
              <a:t>VolvoLink</a:t>
            </a:r>
            <a:endParaRPr lang="sv-SE" sz="900" dirty="0"/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2665281" y="1645219"/>
            <a:ext cx="459441" cy="0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25015" y="2387522"/>
            <a:ext cx="366443" cy="272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9" name="Group 58"/>
          <p:cNvGrpSpPr/>
          <p:nvPr/>
        </p:nvGrpSpPr>
        <p:grpSpPr>
          <a:xfrm>
            <a:off x="1327676" y="1024948"/>
            <a:ext cx="1282459" cy="987172"/>
            <a:chOff x="6969112" y="1188795"/>
            <a:chExt cx="1282459" cy="713041"/>
          </a:xfrm>
        </p:grpSpPr>
        <p:grpSp>
          <p:nvGrpSpPr>
            <p:cNvPr id="60" name="Group 59"/>
            <p:cNvGrpSpPr/>
            <p:nvPr/>
          </p:nvGrpSpPr>
          <p:grpSpPr>
            <a:xfrm>
              <a:off x="6969112" y="1188795"/>
              <a:ext cx="1282459" cy="713041"/>
              <a:chOff x="6646719" y="3266926"/>
              <a:chExt cx="1512168" cy="1001074"/>
            </a:xfrm>
          </p:grpSpPr>
          <p:pic>
            <p:nvPicPr>
              <p:cNvPr id="62" name="Picture 2"/>
              <p:cNvPicPr>
                <a:picLocks noChangeAspect="1" noChangeArrowheads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31904" y="3835797"/>
                <a:ext cx="517280" cy="41504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63" name="Rectangle 62"/>
              <p:cNvSpPr/>
              <p:nvPr/>
            </p:nvSpPr>
            <p:spPr>
              <a:xfrm>
                <a:off x="6646719" y="3266926"/>
                <a:ext cx="1512168" cy="1001074"/>
              </a:xfrm>
              <a:prstGeom prst="rect">
                <a:avLst/>
              </a:prstGeom>
              <a:noFill/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r>
                  <a:rPr lang="sv-SE" sz="1200" dirty="0" smtClean="0">
                    <a:solidFill>
                      <a:schemeClr val="tx1"/>
                    </a:solidFill>
                  </a:rPr>
                  <a:t>ETC</a:t>
                </a:r>
              </a:p>
              <a:p>
                <a:r>
                  <a:rPr lang="sv-SE" sz="800" dirty="0" smtClean="0">
                    <a:solidFill>
                      <a:schemeClr val="tx1"/>
                    </a:solidFill>
                  </a:rPr>
                  <a:t>Wireless toll collection</a:t>
                </a:r>
                <a:endParaRPr lang="sv-SE" sz="800" dirty="0">
                  <a:solidFill>
                    <a:schemeClr val="tx1"/>
                  </a:solidFill>
                </a:endParaRPr>
              </a:p>
              <a:p>
                <a:r>
                  <a:rPr lang="sv-SE" sz="800" dirty="0">
                    <a:solidFill>
                      <a:schemeClr val="tx1"/>
                    </a:solidFill>
                  </a:rPr>
                  <a:t>SW: </a:t>
                </a:r>
              </a:p>
              <a:p>
                <a:r>
                  <a:rPr lang="sv-SE" sz="800" dirty="0">
                    <a:solidFill>
                      <a:schemeClr val="tx1"/>
                    </a:solidFill>
                  </a:rPr>
                  <a:t>HW: </a:t>
                </a:r>
              </a:p>
            </p:txBody>
          </p:sp>
        </p:grpSp>
        <p:pic>
          <p:nvPicPr>
            <p:cNvPr id="61" name="Picture 2"/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37158" y="1223816"/>
              <a:ext cx="287739" cy="2138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64" name="Arbetsyta 15"/>
          <p:cNvGrpSpPr/>
          <p:nvPr/>
        </p:nvGrpSpPr>
        <p:grpSpPr>
          <a:xfrm>
            <a:off x="6215108" y="2881257"/>
            <a:ext cx="673432" cy="431835"/>
            <a:chOff x="0" y="0"/>
            <a:chExt cx="5486400" cy="3200400"/>
          </a:xfrm>
        </p:grpSpPr>
        <p:sp>
          <p:nvSpPr>
            <p:cNvPr id="65" name="Rectangle 64"/>
            <p:cNvSpPr/>
            <p:nvPr/>
          </p:nvSpPr>
          <p:spPr>
            <a:xfrm>
              <a:off x="0" y="0"/>
              <a:ext cx="5486400" cy="3200400"/>
            </a:xfrm>
            <a:prstGeom prst="rect">
              <a:avLst/>
            </a:prstGeom>
          </p:spPr>
        </p:sp>
        <p:pic>
          <p:nvPicPr>
            <p:cNvPr id="66" name="Picture 65"/>
            <p:cNvPicPr/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9525"/>
              <a:ext cx="5320030" cy="31908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10621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/>
          <p:cNvCxnSpPr/>
          <p:nvPr/>
        </p:nvCxnSpPr>
        <p:spPr>
          <a:xfrm flipV="1">
            <a:off x="4953000" y="3429001"/>
            <a:ext cx="2751961" cy="2190581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/>
          <p:cNvCxnSpPr/>
          <p:nvPr/>
        </p:nvCxnSpPr>
        <p:spPr>
          <a:xfrm flipV="1">
            <a:off x="3209925" y="3540642"/>
            <a:ext cx="343109" cy="1112495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3200" b="1" kern="120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Global On-board Telematics Development</a:t>
            </a:r>
            <a:b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sv-SE" sz="1600" dirty="0" smtClean="0">
                <a:solidFill>
                  <a:schemeClr val="accent1">
                    <a:lumMod val="75000"/>
                  </a:schemeClr>
                </a:solidFill>
              </a:rPr>
              <a:t>Fleet management – Portal solutions</a:t>
            </a:r>
            <a:endParaRPr lang="sv-S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97562" y="1412776"/>
            <a:ext cx="146226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050" dirty="0" smtClean="0"/>
              <a:t>UD Information System</a:t>
            </a:r>
            <a:endParaRPr lang="sv-SE" sz="1050" dirty="0"/>
          </a:p>
        </p:txBody>
      </p:sp>
      <p:sp>
        <p:nvSpPr>
          <p:cNvPr id="9" name="TextBox 8"/>
          <p:cNvSpPr txBox="1"/>
          <p:nvPr/>
        </p:nvSpPr>
        <p:spPr>
          <a:xfrm>
            <a:off x="1857796" y="1272112"/>
            <a:ext cx="1617751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050" dirty="0" smtClean="0"/>
              <a:t>UD Telematics Services/</a:t>
            </a:r>
          </a:p>
          <a:p>
            <a:r>
              <a:rPr lang="sv-SE" sz="1050" dirty="0" smtClean="0"/>
              <a:t>Eicher Telematics Services</a:t>
            </a:r>
            <a:endParaRPr lang="sv-SE" sz="1050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179512" y="1689775"/>
            <a:ext cx="8447544" cy="110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851920" y="1272112"/>
            <a:ext cx="15680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050" dirty="0" smtClean="0"/>
              <a:t>Dynafleet (Volvo trucks)/</a:t>
            </a:r>
          </a:p>
          <a:p>
            <a:r>
              <a:rPr lang="sv-SE" sz="1050" dirty="0" smtClean="0"/>
              <a:t>Optifleet (Renault trucks)</a:t>
            </a:r>
            <a:endParaRPr lang="sv-SE" sz="1050" dirty="0"/>
          </a:p>
        </p:txBody>
      </p:sp>
      <p:sp>
        <p:nvSpPr>
          <p:cNvPr id="12" name="TextBox 11"/>
          <p:cNvSpPr txBox="1"/>
          <p:nvPr/>
        </p:nvSpPr>
        <p:spPr>
          <a:xfrm>
            <a:off x="5729233" y="1267178"/>
            <a:ext cx="107753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050" dirty="0" smtClean="0"/>
              <a:t>Volvo Link/</a:t>
            </a:r>
          </a:p>
          <a:p>
            <a:r>
              <a:rPr lang="sv-SE" sz="1050" dirty="0" smtClean="0"/>
              <a:t>Prevost Liason</a:t>
            </a:r>
            <a:endParaRPr lang="sv-SE" sz="1050" dirty="0"/>
          </a:p>
        </p:txBody>
      </p:sp>
      <p:sp>
        <p:nvSpPr>
          <p:cNvPr id="13" name="TextBox 12"/>
          <p:cNvSpPr txBox="1"/>
          <p:nvPr/>
        </p:nvSpPr>
        <p:spPr>
          <a:xfrm>
            <a:off x="7260996" y="1285310"/>
            <a:ext cx="1750800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050" dirty="0" smtClean="0"/>
              <a:t>Volvo Buses, </a:t>
            </a:r>
          </a:p>
          <a:p>
            <a:r>
              <a:rPr lang="sv-SE" sz="1050" dirty="0" smtClean="0"/>
              <a:t>Construction equipment etc.</a:t>
            </a:r>
            <a:endParaRPr lang="sv-SE" sz="1050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13691" y="2323725"/>
            <a:ext cx="1848841" cy="10010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49893" y="3429000"/>
            <a:ext cx="1829104" cy="1224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5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93445" y="2323725"/>
            <a:ext cx="1454419" cy="908972"/>
          </a:xfrm>
          <a:prstGeom prst="rect">
            <a:avLst/>
          </a:prstGeom>
        </p:spPr>
      </p:pic>
      <p:sp>
        <p:nvSpPr>
          <p:cNvPr id="17" name="Rectangle 16"/>
          <p:cNvSpPr/>
          <p:nvPr/>
        </p:nvSpPr>
        <p:spPr>
          <a:xfrm>
            <a:off x="7380312" y="2323725"/>
            <a:ext cx="1512168" cy="1001074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8" name="TextBox 17"/>
          <p:cNvSpPr txBox="1"/>
          <p:nvPr/>
        </p:nvSpPr>
        <p:spPr>
          <a:xfrm>
            <a:off x="6511573" y="4532502"/>
            <a:ext cx="2199641" cy="144655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rtlCol="0">
            <a:spAutoFit/>
          </a:bodyPr>
          <a:lstStyle>
            <a:defPPr>
              <a:defRPr lang="sv-SE"/>
            </a:defPPr>
            <a:lvl1pPr>
              <a:defRPr sz="1200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sv-SE" dirty="0" smtClean="0"/>
              <a:t>Fleet mgmt - portal functions</a:t>
            </a:r>
            <a:endParaRPr lang="sv-S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800" dirty="0"/>
              <a:t>Tracking vehicles on ma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800" dirty="0"/>
              <a:t>Vehicle event aler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800" dirty="0"/>
              <a:t>Reports and statistics (vehicle &amp; driver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800" dirty="0"/>
              <a:t>Order manag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800" dirty="0"/>
              <a:t>Driver times manag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800" dirty="0"/>
              <a:t>Messag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800" dirty="0"/>
              <a:t>Service plann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800" dirty="0"/>
              <a:t>Etc.</a:t>
            </a:r>
          </a:p>
          <a:p>
            <a:endParaRPr lang="sv-SE" dirty="0"/>
          </a:p>
        </p:txBody>
      </p:sp>
      <p:sp>
        <p:nvSpPr>
          <p:cNvPr id="19" name="TextBox 18"/>
          <p:cNvSpPr txBox="1"/>
          <p:nvPr/>
        </p:nvSpPr>
        <p:spPr>
          <a:xfrm>
            <a:off x="297562" y="1700808"/>
            <a:ext cx="808235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700" i="1" dirty="0" smtClean="0"/>
              <a:t>UD Trucks, Japan</a:t>
            </a:r>
            <a:endParaRPr lang="sv-SE" sz="700" i="1" dirty="0"/>
          </a:p>
        </p:txBody>
      </p:sp>
      <p:sp>
        <p:nvSpPr>
          <p:cNvPr id="20" name="TextBox 19"/>
          <p:cNvSpPr txBox="1"/>
          <p:nvPr/>
        </p:nvSpPr>
        <p:spPr>
          <a:xfrm>
            <a:off x="1857796" y="1699346"/>
            <a:ext cx="7473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700" i="1" dirty="0" smtClean="0"/>
              <a:t>UD Trucks, Asia</a:t>
            </a:r>
          </a:p>
          <a:p>
            <a:r>
              <a:rPr lang="sv-SE" sz="700" i="1" dirty="0" smtClean="0"/>
              <a:t>Eicher Trucks</a:t>
            </a:r>
            <a:endParaRPr lang="sv-SE" sz="700" i="1" dirty="0"/>
          </a:p>
        </p:txBody>
      </p:sp>
      <p:sp>
        <p:nvSpPr>
          <p:cNvPr id="21" name="TextBox 20"/>
          <p:cNvSpPr txBox="1"/>
          <p:nvPr/>
        </p:nvSpPr>
        <p:spPr>
          <a:xfrm>
            <a:off x="3851920" y="1699346"/>
            <a:ext cx="121860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700" i="1" dirty="0" smtClean="0"/>
              <a:t>Volvo trucks, Renault trucks,</a:t>
            </a:r>
          </a:p>
          <a:p>
            <a:r>
              <a:rPr lang="sv-SE" sz="700" i="1" dirty="0" smtClean="0"/>
              <a:t>FMS trucks (other brands)</a:t>
            </a:r>
            <a:endParaRPr lang="sv-SE" sz="700" i="1" dirty="0"/>
          </a:p>
        </p:txBody>
      </p:sp>
      <p:sp>
        <p:nvSpPr>
          <p:cNvPr id="22" name="TextBox 21"/>
          <p:cNvSpPr txBox="1"/>
          <p:nvPr/>
        </p:nvSpPr>
        <p:spPr>
          <a:xfrm>
            <a:off x="5729233" y="1700808"/>
            <a:ext cx="873957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700" i="1" dirty="0" smtClean="0"/>
              <a:t>Volvo trucks NA, </a:t>
            </a:r>
          </a:p>
          <a:p>
            <a:r>
              <a:rPr lang="sv-SE" sz="700" i="1" dirty="0" smtClean="0"/>
              <a:t>Mack Trucks</a:t>
            </a:r>
          </a:p>
          <a:p>
            <a:r>
              <a:rPr lang="sv-SE" sz="700" i="1" dirty="0" smtClean="0"/>
              <a:t>Prevost coaches</a:t>
            </a:r>
            <a:endParaRPr lang="sv-SE" sz="700" i="1" dirty="0"/>
          </a:p>
        </p:txBody>
      </p:sp>
      <p:sp>
        <p:nvSpPr>
          <p:cNvPr id="23" name="TextBox 22"/>
          <p:cNvSpPr txBox="1"/>
          <p:nvPr/>
        </p:nvSpPr>
        <p:spPr>
          <a:xfrm>
            <a:off x="7260996" y="1712544"/>
            <a:ext cx="12170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700" i="1" dirty="0" smtClean="0"/>
              <a:t>Volvo Buses, </a:t>
            </a:r>
          </a:p>
          <a:p>
            <a:r>
              <a:rPr lang="sv-SE" sz="700" i="1" dirty="0" smtClean="0"/>
              <a:t>Construction equipment etc.</a:t>
            </a:r>
            <a:endParaRPr lang="sv-SE" sz="700" i="1" dirty="0"/>
          </a:p>
        </p:txBody>
      </p:sp>
      <p:grpSp>
        <p:nvGrpSpPr>
          <p:cNvPr id="24" name="Group 23"/>
          <p:cNvGrpSpPr/>
          <p:nvPr/>
        </p:nvGrpSpPr>
        <p:grpSpPr>
          <a:xfrm>
            <a:off x="193605" y="2323725"/>
            <a:ext cx="1607805" cy="1105275"/>
            <a:chOff x="0" y="0"/>
            <a:chExt cx="12790477" cy="12013036"/>
          </a:xfrm>
        </p:grpSpPr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10174941"/>
              <a:ext cx="12790477" cy="1838095"/>
            </a:xfrm>
            <a:prstGeom prst="rect">
              <a:avLst/>
            </a:prstGeom>
          </p:spPr>
        </p:pic>
        <p:grpSp>
          <p:nvGrpSpPr>
            <p:cNvPr id="26" name="Group 25"/>
            <p:cNvGrpSpPr/>
            <p:nvPr/>
          </p:nvGrpSpPr>
          <p:grpSpPr>
            <a:xfrm>
              <a:off x="22412" y="0"/>
              <a:ext cx="12734443" cy="10372050"/>
              <a:chOff x="22412" y="0"/>
              <a:chExt cx="12734443" cy="10372050"/>
            </a:xfrm>
          </p:grpSpPr>
          <p:pic>
            <p:nvPicPr>
              <p:cNvPr id="27" name="Picture 26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2412" y="4972050"/>
                <a:ext cx="12672259" cy="5400000"/>
              </a:xfrm>
              <a:prstGeom prst="rect">
                <a:avLst/>
              </a:prstGeom>
            </p:spPr>
          </p:pic>
          <p:pic>
            <p:nvPicPr>
              <p:cNvPr id="28" name="Picture 27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2412" y="0"/>
                <a:ext cx="12734443" cy="5352381"/>
              </a:xfrm>
              <a:prstGeom prst="rect">
                <a:avLst/>
              </a:prstGeom>
            </p:spPr>
          </p:pic>
        </p:grpSp>
      </p:grpSp>
      <p:cxnSp>
        <p:nvCxnSpPr>
          <p:cNvPr id="29" name="Straight Arrow Connector 28"/>
          <p:cNvCxnSpPr/>
          <p:nvPr/>
        </p:nvCxnSpPr>
        <p:spPr>
          <a:xfrm flipH="1" flipV="1">
            <a:off x="992894" y="3540642"/>
            <a:ext cx="4613" cy="1442204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 flipV="1">
            <a:off x="4953000" y="4143375"/>
            <a:ext cx="1177945" cy="1319219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H="1" flipV="1">
            <a:off x="2605116" y="3540642"/>
            <a:ext cx="423834" cy="1112494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\\Vcn.ds.volvo.net\3p-got\home05\T0C1712\My Documents\0. GTT OBT Functions\Presentationer\Volvo link images\VolvoLink imgs\Sample Image - Location Report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15153" y="2323725"/>
            <a:ext cx="1592840" cy="1655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" name="Group 32"/>
          <p:cNvGrpSpPr/>
          <p:nvPr/>
        </p:nvGrpSpPr>
        <p:grpSpPr>
          <a:xfrm>
            <a:off x="2485359" y="4804372"/>
            <a:ext cx="2269989" cy="1311506"/>
            <a:chOff x="325894" y="4750934"/>
            <a:chExt cx="1936605" cy="1311506"/>
          </a:xfrm>
        </p:grpSpPr>
        <p:grpSp>
          <p:nvGrpSpPr>
            <p:cNvPr id="34" name="Group 33"/>
            <p:cNvGrpSpPr/>
            <p:nvPr/>
          </p:nvGrpSpPr>
          <p:grpSpPr>
            <a:xfrm>
              <a:off x="325894" y="4750934"/>
              <a:ext cx="1936605" cy="1311506"/>
              <a:chOff x="3521083" y="5112165"/>
              <a:chExt cx="1936605" cy="1311506"/>
            </a:xfrm>
          </p:grpSpPr>
          <p:pic>
            <p:nvPicPr>
              <p:cNvPr id="36" name="Picture 35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6200000">
                <a:off x="4660967" y="5627658"/>
                <a:ext cx="671265" cy="895020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Rectangle 36"/>
              <p:cNvSpPr/>
              <p:nvPr/>
            </p:nvSpPr>
            <p:spPr>
              <a:xfrm>
                <a:off x="3521083" y="5112165"/>
                <a:ext cx="1936605" cy="1311506"/>
              </a:xfrm>
              <a:prstGeom prst="rect">
                <a:avLst/>
              </a:prstGeom>
              <a:noFill/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r>
                  <a:rPr lang="sv-SE" sz="1200" dirty="0" smtClean="0">
                    <a:solidFill>
                      <a:schemeClr val="tx1"/>
                    </a:solidFill>
                  </a:rPr>
                  <a:t>TGW 2 (also 1 and 2.1)</a:t>
                </a:r>
              </a:p>
              <a:p>
                <a:r>
                  <a:rPr lang="sv-SE" sz="800" dirty="0" smtClean="0">
                    <a:solidFill>
                      <a:schemeClr val="tx1"/>
                    </a:solidFill>
                  </a:rPr>
                  <a:t>Applications</a:t>
                </a:r>
              </a:p>
              <a:p>
                <a:r>
                  <a:rPr lang="sv-SE" sz="800" dirty="0" smtClean="0">
                    <a:solidFill>
                      <a:schemeClr val="tx1"/>
                    </a:solidFill>
                  </a:rPr>
                  <a:t>Communication (GPRS, 3G, WLAN)</a:t>
                </a:r>
              </a:p>
              <a:p>
                <a:r>
                  <a:rPr lang="sv-SE" sz="800" dirty="0" smtClean="0">
                    <a:solidFill>
                      <a:schemeClr val="tx1"/>
                    </a:solidFill>
                  </a:rPr>
                  <a:t>Positioning (GPS)</a:t>
                </a:r>
              </a:p>
              <a:p>
                <a:r>
                  <a:rPr lang="sv-SE" sz="800" dirty="0" smtClean="0">
                    <a:solidFill>
                      <a:schemeClr val="tx1"/>
                    </a:solidFill>
                  </a:rPr>
                  <a:t>SW: OBT</a:t>
                </a:r>
              </a:p>
              <a:p>
                <a:r>
                  <a:rPr lang="sv-SE" sz="800" dirty="0" smtClean="0">
                    <a:solidFill>
                      <a:schemeClr val="tx1"/>
                    </a:solidFill>
                  </a:rPr>
                  <a:t>OS &amp; BSP: Enea/OBT</a:t>
                </a:r>
              </a:p>
              <a:p>
                <a:r>
                  <a:rPr lang="sv-SE" sz="800" dirty="0" smtClean="0">
                    <a:solidFill>
                      <a:schemeClr val="tx1"/>
                    </a:solidFill>
                  </a:rPr>
                  <a:t>HW: Actia</a:t>
                </a:r>
              </a:p>
              <a:p>
                <a:pPr marL="171450" indent="-171450">
                  <a:buFontTx/>
                  <a:buChar char="-"/>
                </a:pPr>
                <a:endParaRPr lang="sv-SE" sz="800" dirty="0" smtClean="0">
                  <a:solidFill>
                    <a:schemeClr val="tx1"/>
                  </a:solidFill>
                </a:endParaRPr>
              </a:p>
              <a:p>
                <a:endParaRPr lang="sv-SE" sz="800" dirty="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35" name="Picture 2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83710" y="4805679"/>
              <a:ext cx="312625" cy="2723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8" name="Group 37"/>
          <p:cNvGrpSpPr/>
          <p:nvPr/>
        </p:nvGrpSpPr>
        <p:grpSpPr>
          <a:xfrm>
            <a:off x="163345" y="5119045"/>
            <a:ext cx="2135946" cy="1001074"/>
            <a:chOff x="5068369" y="1131654"/>
            <a:chExt cx="1713856" cy="1001074"/>
          </a:xfrm>
        </p:grpSpPr>
        <p:grpSp>
          <p:nvGrpSpPr>
            <p:cNvPr id="39" name="Group 38"/>
            <p:cNvGrpSpPr/>
            <p:nvPr/>
          </p:nvGrpSpPr>
          <p:grpSpPr>
            <a:xfrm>
              <a:off x="5068369" y="1131654"/>
              <a:ext cx="1713856" cy="1001074"/>
              <a:chOff x="4969491" y="1367039"/>
              <a:chExt cx="1713856" cy="1001074"/>
            </a:xfrm>
          </p:grpSpPr>
          <p:sp>
            <p:nvSpPr>
              <p:cNvPr id="41" name="Rectangle 40"/>
              <p:cNvSpPr/>
              <p:nvPr/>
            </p:nvSpPr>
            <p:spPr>
              <a:xfrm>
                <a:off x="4969491" y="1367039"/>
                <a:ext cx="1713856" cy="1001074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r>
                  <a:rPr lang="sv-SE" sz="1200" dirty="0" smtClean="0">
                    <a:solidFill>
                      <a:schemeClr val="tx1"/>
                    </a:solidFill>
                  </a:rPr>
                  <a:t>UD TU</a:t>
                </a:r>
              </a:p>
              <a:p>
                <a:r>
                  <a:rPr lang="sv-SE" sz="800" dirty="0" smtClean="0">
                    <a:solidFill>
                      <a:schemeClr val="tx1"/>
                    </a:solidFill>
                  </a:rPr>
                  <a:t>Display &amp; applications</a:t>
                </a:r>
              </a:p>
              <a:p>
                <a:r>
                  <a:rPr lang="sv-SE" sz="800" dirty="0" smtClean="0">
                    <a:solidFill>
                      <a:schemeClr val="tx1"/>
                    </a:solidFill>
                  </a:rPr>
                  <a:t>Modem, GPS</a:t>
                </a:r>
                <a:endParaRPr lang="sv-SE" sz="800" dirty="0">
                  <a:solidFill>
                    <a:schemeClr val="tx1"/>
                  </a:solidFill>
                </a:endParaRPr>
              </a:p>
              <a:p>
                <a:r>
                  <a:rPr lang="sv-SE" sz="800" dirty="0">
                    <a:solidFill>
                      <a:schemeClr val="tx1"/>
                    </a:solidFill>
                  </a:rPr>
                  <a:t>SW</a:t>
                </a:r>
                <a:r>
                  <a:rPr lang="sv-SE" sz="800">
                    <a:solidFill>
                      <a:schemeClr val="tx1"/>
                    </a:solidFill>
                  </a:rPr>
                  <a:t>: </a:t>
                </a:r>
                <a:r>
                  <a:rPr lang="sv-SE" sz="800" smtClean="0">
                    <a:solidFill>
                      <a:schemeClr val="tx1"/>
                    </a:solidFill>
                  </a:rPr>
                  <a:t>Fujisoft</a:t>
                </a:r>
              </a:p>
              <a:p>
                <a:r>
                  <a:rPr lang="sv-SE" sz="800" smtClean="0">
                    <a:solidFill>
                      <a:schemeClr val="tx1"/>
                    </a:solidFill>
                  </a:rPr>
                  <a:t>HW</a:t>
                </a:r>
                <a:r>
                  <a:rPr lang="sv-SE" sz="800" dirty="0" smtClean="0">
                    <a:solidFill>
                      <a:schemeClr val="tx1"/>
                    </a:solidFill>
                  </a:rPr>
                  <a:t>: Actia </a:t>
                </a:r>
                <a:endParaRPr lang="sv-SE" sz="80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42" name="Picture 1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946630" y="2109309"/>
                <a:ext cx="709029" cy="2051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40" name="Picture 2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75263" y="1174301"/>
              <a:ext cx="279274" cy="243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43" name="Straight Arrow Connector 42"/>
          <p:cNvCxnSpPr/>
          <p:nvPr/>
        </p:nvCxnSpPr>
        <p:spPr>
          <a:xfrm flipH="1" flipV="1">
            <a:off x="1231318" y="3540643"/>
            <a:ext cx="1647270" cy="1112494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3616079" y="6602918"/>
            <a:ext cx="3426932" cy="215900"/>
          </a:xfrm>
        </p:spPr>
        <p:txBody>
          <a:bodyPr/>
          <a:lstStyle/>
          <a:p>
            <a:r>
              <a:rPr lang="en-US" noProof="0" dirty="0" smtClean="0"/>
              <a:t>BF77110 OBT Development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62044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3200" b="1" kern="120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Global On-board Telematics Development</a:t>
            </a:r>
            <a:b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sv-SE" sz="1600" dirty="0" smtClean="0">
                <a:solidFill>
                  <a:schemeClr val="accent1">
                    <a:lumMod val="75000"/>
                  </a:schemeClr>
                </a:solidFill>
              </a:rPr>
              <a:t>Uptime services</a:t>
            </a:r>
            <a:endParaRPr lang="sv-S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179512" y="1844824"/>
            <a:ext cx="8447544" cy="110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395536" y="1412776"/>
            <a:ext cx="98777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050" dirty="0" smtClean="0"/>
              <a:t>Uptime portal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160580" y="1412776"/>
            <a:ext cx="111601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050" dirty="0" smtClean="0"/>
              <a:t>Features onlin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766566" y="1412249"/>
            <a:ext cx="1385316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050" dirty="0" smtClean="0"/>
              <a:t>Volvo action service</a:t>
            </a:r>
          </a:p>
          <a:p>
            <a:r>
              <a:rPr lang="sv-SE" sz="1050" dirty="0" smtClean="0"/>
              <a:t>Call-center</a:t>
            </a:r>
          </a:p>
        </p:txBody>
      </p:sp>
      <p:pic>
        <p:nvPicPr>
          <p:cNvPr id="10" name="Picture 3" descr="image00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84362" y="2169708"/>
            <a:ext cx="1551534" cy="10963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" descr="image00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4378" y="2169709"/>
            <a:ext cx="1555334" cy="11062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6592957" y="5190201"/>
            <a:ext cx="2093843" cy="76944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rtlCol="0">
            <a:spAutoFit/>
          </a:bodyPr>
          <a:lstStyle>
            <a:defPPr>
              <a:defRPr lang="sv-SE"/>
            </a:defPPr>
            <a:lvl1pPr>
              <a:defRPr sz="1200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sv-SE" dirty="0" smtClean="0"/>
              <a:t>Uptime Func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800" dirty="0" smtClean="0"/>
              <a:t>Remote </a:t>
            </a:r>
            <a:r>
              <a:rPr lang="sv-SE" sz="800" dirty="0"/>
              <a:t>ECU SW upgrad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800" dirty="0"/>
              <a:t>Remote vehicle SW parameter sett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800" dirty="0"/>
              <a:t>Remote diagnosis of fault cod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800" dirty="0" smtClean="0"/>
              <a:t>Road assistance (VAS Call)</a:t>
            </a:r>
            <a:endParaRPr lang="sv-SE" sz="800" dirty="0"/>
          </a:p>
        </p:txBody>
      </p:sp>
      <p:cxnSp>
        <p:nvCxnSpPr>
          <p:cNvPr id="13" name="Straight Arrow Connector 12"/>
          <p:cNvCxnSpPr/>
          <p:nvPr/>
        </p:nvCxnSpPr>
        <p:spPr>
          <a:xfrm flipH="1" flipV="1">
            <a:off x="1066800" y="3309258"/>
            <a:ext cx="438150" cy="1199862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1667261" y="3309257"/>
            <a:ext cx="1032396" cy="1217956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1846275" y="3309258"/>
            <a:ext cx="2427776" cy="1217955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7420837" y="1412776"/>
            <a:ext cx="11945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050" dirty="0" smtClean="0"/>
              <a:t>ERA-GLONASS </a:t>
            </a:r>
          </a:p>
          <a:p>
            <a:r>
              <a:rPr lang="sv-SE" sz="1050" dirty="0" smtClean="0"/>
              <a:t>Call-center</a:t>
            </a:r>
            <a:endParaRPr lang="sv-SE" sz="1050" dirty="0"/>
          </a:p>
        </p:txBody>
      </p:sp>
      <p:sp>
        <p:nvSpPr>
          <p:cNvPr id="17" name="TextBox 16"/>
          <p:cNvSpPr txBox="1"/>
          <p:nvPr/>
        </p:nvSpPr>
        <p:spPr>
          <a:xfrm>
            <a:off x="423449" y="1828274"/>
            <a:ext cx="144302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700" i="1" dirty="0" smtClean="0"/>
              <a:t>Volvo trucks, UD Trucks, Japan</a:t>
            </a:r>
            <a:endParaRPr lang="sv-SE" sz="700" i="1" dirty="0"/>
          </a:p>
        </p:txBody>
      </p:sp>
      <p:sp>
        <p:nvSpPr>
          <p:cNvPr id="18" name="TextBox 17"/>
          <p:cNvSpPr txBox="1"/>
          <p:nvPr/>
        </p:nvSpPr>
        <p:spPr>
          <a:xfrm>
            <a:off x="2165862" y="1828274"/>
            <a:ext cx="978153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700" i="1" dirty="0" smtClean="0"/>
              <a:t>Volvo trucks, EMEA</a:t>
            </a:r>
            <a:endParaRPr lang="sv-SE" sz="700" i="1" dirty="0"/>
          </a:p>
        </p:txBody>
      </p:sp>
      <p:sp>
        <p:nvSpPr>
          <p:cNvPr id="19" name="TextBox 18"/>
          <p:cNvSpPr txBox="1"/>
          <p:nvPr/>
        </p:nvSpPr>
        <p:spPr>
          <a:xfrm>
            <a:off x="5868144" y="1855857"/>
            <a:ext cx="6735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700" i="1" dirty="0" smtClean="0"/>
              <a:t>Volvo trucks</a:t>
            </a:r>
            <a:endParaRPr lang="sv-SE" sz="700" i="1" dirty="0"/>
          </a:p>
        </p:txBody>
      </p:sp>
      <p:sp>
        <p:nvSpPr>
          <p:cNvPr id="20" name="TextBox 19"/>
          <p:cNvSpPr txBox="1"/>
          <p:nvPr/>
        </p:nvSpPr>
        <p:spPr>
          <a:xfrm>
            <a:off x="7455623" y="1827747"/>
            <a:ext cx="949299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700" i="1" dirty="0" smtClean="0"/>
              <a:t>ERA Union, Russia</a:t>
            </a:r>
            <a:endParaRPr lang="sv-SE" sz="700" i="1" dirty="0"/>
          </a:p>
        </p:txBody>
      </p:sp>
      <p:pic>
        <p:nvPicPr>
          <p:cNvPr id="23" name="Picture 6" descr="https://encrypted-tbn2.gstatic.com/images?q=tbn:ANd9GcQwWFbrNAmJ7Wqy8TyF5FP0YHGBLd-PKr71Ta53U8InfdxwYILB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72827" y="2168587"/>
            <a:ext cx="1404422" cy="9345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6" descr="https://encrypted-tbn2.gstatic.com/images?q=tbn:ANd9GcQwWFbrNAmJ7Wqy8TyF5FP0YHGBLd-PKr71Ta53U8InfdxwYILB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57013" y="2167071"/>
            <a:ext cx="1404422" cy="9345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" name="Straight Arrow Connector 24"/>
          <p:cNvCxnSpPr/>
          <p:nvPr/>
        </p:nvCxnSpPr>
        <p:spPr>
          <a:xfrm flipV="1">
            <a:off x="4572000" y="3309258"/>
            <a:ext cx="3132961" cy="1542692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" descr="\\Vcn.ds.volvo.net\3p-got\home05\T0C1712\My Documents\0. GTT OBT Functions\Presentationer\Volvo link images\VolvoLink imgs\Sample Image - Remote Diagnostis Mapping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12923" y="2169709"/>
            <a:ext cx="1925711" cy="9406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/>
          <p:cNvSpPr txBox="1"/>
          <p:nvPr/>
        </p:nvSpPr>
        <p:spPr>
          <a:xfrm>
            <a:off x="3716045" y="1417638"/>
            <a:ext cx="1745991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050" dirty="0" smtClean="0"/>
              <a:t>Volvo Remote diagnostics</a:t>
            </a:r>
          </a:p>
          <a:p>
            <a:r>
              <a:rPr lang="sv-SE" sz="1050" dirty="0" smtClean="0"/>
              <a:t>/Guarddog connect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729702" y="1827746"/>
            <a:ext cx="182133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700" i="1" dirty="0" smtClean="0"/>
              <a:t>Volvo trucks, Mack trucks, North america</a:t>
            </a:r>
            <a:endParaRPr lang="sv-SE" sz="700" i="1" dirty="0"/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1979712" y="3275941"/>
            <a:ext cx="4225223" cy="1251272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>
          <a:xfrm>
            <a:off x="442590" y="4661006"/>
            <a:ext cx="2273768" cy="1311506"/>
            <a:chOff x="268462" y="4750934"/>
            <a:chExt cx="1939829" cy="131150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31" name="Group 30"/>
            <p:cNvGrpSpPr/>
            <p:nvPr/>
          </p:nvGrpSpPr>
          <p:grpSpPr>
            <a:xfrm>
              <a:off x="268462" y="4750934"/>
              <a:ext cx="1939829" cy="1311506"/>
              <a:chOff x="3463651" y="5112165"/>
              <a:chExt cx="1939829" cy="1311506"/>
            </a:xfrm>
          </p:grpSpPr>
          <p:pic>
            <p:nvPicPr>
              <p:cNvPr id="33" name="Picture 32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6200000">
                <a:off x="4620337" y="5627658"/>
                <a:ext cx="671265" cy="895020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4" name="Rectangle 33"/>
              <p:cNvSpPr/>
              <p:nvPr/>
            </p:nvSpPr>
            <p:spPr>
              <a:xfrm>
                <a:off x="3463651" y="5112165"/>
                <a:ext cx="1936605" cy="1311506"/>
              </a:xfrm>
              <a:prstGeom prst="rect">
                <a:avLst/>
              </a:prstGeom>
              <a:noFill/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r>
                  <a:rPr lang="sv-SE" sz="1200" dirty="0" smtClean="0">
                    <a:solidFill>
                      <a:schemeClr val="tx1"/>
                    </a:solidFill>
                  </a:rPr>
                  <a:t>TGW 2 (also 1 and 2.1)</a:t>
                </a:r>
              </a:p>
              <a:p>
                <a:r>
                  <a:rPr lang="sv-SE" sz="800" dirty="0" smtClean="0">
                    <a:solidFill>
                      <a:schemeClr val="tx1"/>
                    </a:solidFill>
                  </a:rPr>
                  <a:t>Applications</a:t>
                </a:r>
              </a:p>
              <a:p>
                <a:r>
                  <a:rPr lang="sv-SE" sz="800" dirty="0" smtClean="0">
                    <a:solidFill>
                      <a:schemeClr val="tx1"/>
                    </a:solidFill>
                  </a:rPr>
                  <a:t>Communication (GPRS, 3G, WLAN)</a:t>
                </a:r>
              </a:p>
              <a:p>
                <a:r>
                  <a:rPr lang="sv-SE" sz="800" dirty="0" smtClean="0">
                    <a:solidFill>
                      <a:schemeClr val="tx1"/>
                    </a:solidFill>
                  </a:rPr>
                  <a:t>Positioning (GPS)</a:t>
                </a:r>
              </a:p>
              <a:p>
                <a:r>
                  <a:rPr lang="sv-SE" sz="800" dirty="0" smtClean="0">
                    <a:solidFill>
                      <a:schemeClr val="tx1"/>
                    </a:solidFill>
                  </a:rPr>
                  <a:t>SW: OBT</a:t>
                </a:r>
              </a:p>
              <a:p>
                <a:r>
                  <a:rPr lang="sv-SE" sz="800" dirty="0" smtClean="0">
                    <a:solidFill>
                      <a:schemeClr val="tx1"/>
                    </a:solidFill>
                  </a:rPr>
                  <a:t>OS &amp; BSP: Enea/OBT</a:t>
                </a:r>
              </a:p>
              <a:p>
                <a:r>
                  <a:rPr lang="sv-SE" sz="800" dirty="0" smtClean="0">
                    <a:solidFill>
                      <a:schemeClr val="tx1"/>
                    </a:solidFill>
                  </a:rPr>
                  <a:t>HW: Actia</a:t>
                </a:r>
              </a:p>
              <a:p>
                <a:pPr marL="171450" indent="-171450">
                  <a:buFontTx/>
                  <a:buChar char="-"/>
                </a:pPr>
                <a:endParaRPr lang="sv-SE" sz="800" dirty="0" smtClean="0">
                  <a:solidFill>
                    <a:schemeClr val="tx1"/>
                  </a:solidFill>
                </a:endParaRPr>
              </a:p>
              <a:p>
                <a:endParaRPr lang="sv-SE" sz="800" dirty="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32" name="Picture 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75584" y="4786629"/>
              <a:ext cx="312625" cy="2723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5" name="Group 34"/>
          <p:cNvGrpSpPr/>
          <p:nvPr/>
        </p:nvGrpSpPr>
        <p:grpSpPr>
          <a:xfrm>
            <a:off x="3081437" y="4964562"/>
            <a:ext cx="1814414" cy="1001074"/>
            <a:chOff x="3081437" y="4964562"/>
            <a:chExt cx="1814414" cy="1001074"/>
          </a:xfrm>
        </p:grpSpPr>
        <p:sp>
          <p:nvSpPr>
            <p:cNvPr id="36" name="Rectangle 35"/>
            <p:cNvSpPr/>
            <p:nvPr/>
          </p:nvSpPr>
          <p:spPr>
            <a:xfrm>
              <a:off x="3081437" y="4964562"/>
              <a:ext cx="1814414" cy="1001074"/>
            </a:xfrm>
            <a:prstGeom prst="rect">
              <a:avLst/>
            </a:prstGeom>
            <a:noFill/>
            <a:ln>
              <a:solidFill>
                <a:srgbClr val="0070C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r>
                <a:rPr lang="sv-SE" sz="1200" dirty="0" smtClean="0">
                  <a:solidFill>
                    <a:schemeClr val="tx1"/>
                  </a:solidFill>
                </a:rPr>
                <a:t>ERA-GLONASS</a:t>
              </a:r>
            </a:p>
            <a:p>
              <a:r>
                <a:rPr lang="sv-SE" sz="800" dirty="0" smtClean="0">
                  <a:solidFill>
                    <a:schemeClr val="tx1"/>
                  </a:solidFill>
                </a:rPr>
                <a:t>Applications</a:t>
              </a:r>
            </a:p>
            <a:p>
              <a:r>
                <a:rPr lang="sv-SE" sz="800" dirty="0" smtClean="0">
                  <a:solidFill>
                    <a:schemeClr val="tx1"/>
                  </a:solidFill>
                </a:rPr>
                <a:t>Communication (3G)</a:t>
              </a:r>
            </a:p>
            <a:p>
              <a:r>
                <a:rPr lang="sv-SE" sz="800" dirty="0" smtClean="0">
                  <a:solidFill>
                    <a:schemeClr val="tx1"/>
                  </a:solidFill>
                </a:rPr>
                <a:t>Positioning (Glonass)</a:t>
              </a:r>
            </a:p>
            <a:p>
              <a:endParaRPr lang="sv-SE" sz="800" dirty="0">
                <a:solidFill>
                  <a:schemeClr val="tx1"/>
                </a:solidFill>
              </a:endParaRPr>
            </a:p>
          </p:txBody>
        </p:sp>
        <p:pic>
          <p:nvPicPr>
            <p:cNvPr id="37" name="Picture 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9994" y="5011147"/>
              <a:ext cx="366443" cy="2723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0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3616079" y="6602918"/>
            <a:ext cx="3426932" cy="215900"/>
          </a:xfrm>
        </p:spPr>
        <p:txBody>
          <a:bodyPr/>
          <a:lstStyle/>
          <a:p>
            <a:r>
              <a:rPr lang="en-US" noProof="0" dirty="0" smtClean="0"/>
              <a:t>BF77110 OBT Development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40459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05903017"/>
              </p:ext>
            </p:extLst>
          </p:nvPr>
        </p:nvGraphicFramePr>
        <p:xfrm>
          <a:off x="861237" y="2200940"/>
          <a:ext cx="6400800" cy="20733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350358" y="6415568"/>
            <a:ext cx="6873875" cy="215900"/>
          </a:xfrm>
        </p:spPr>
        <p:txBody>
          <a:bodyPr/>
          <a:lstStyle/>
          <a:p>
            <a:r>
              <a:rPr lang="en-US" noProof="0" dirty="0" smtClean="0"/>
              <a:t>OBT, Rolf Nilsson &amp; Anders Brokstorp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0E9AD42-C178-4DDF-86C3-EDC77BEDCFC5}" type="slidenum">
              <a:rPr lang="en-US" noProof="0" smtClean="0"/>
              <a:pPr/>
              <a:t>13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F577821-81B7-4D8A-AB65-4B7AEA23717F}" type="datetime1">
              <a:rPr lang="en-US" noProof="0" smtClean="0"/>
              <a:t>8/18/2016</a:t>
            </a:fld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74137" y="215309"/>
            <a:ext cx="8229600" cy="1143000"/>
          </a:xfrm>
        </p:spPr>
        <p:txBody>
          <a:bodyPr/>
          <a:lstStyle/>
          <a:p>
            <a:r>
              <a:rPr lang="sv-SE" dirty="0" smtClean="0"/>
              <a:t>Project Team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6990846" y="5795158"/>
            <a:ext cx="215315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000" dirty="0" smtClean="0">
                <a:hlinkClick r:id="rId8"/>
              </a:rPr>
              <a:t>Role descriptions</a:t>
            </a:r>
            <a:endParaRPr lang="sv-SE" sz="2000" dirty="0" smtClean="0"/>
          </a:p>
          <a:p>
            <a:endParaRPr lang="sv-SE" sz="2000" dirty="0" smtClean="0"/>
          </a:p>
        </p:txBody>
      </p:sp>
    </p:spTree>
    <p:extLst>
      <p:ext uri="{BB962C8B-B14F-4D97-AF65-F5344CB8AC3E}">
        <p14:creationId xmlns:p14="http://schemas.microsoft.com/office/powerpoint/2010/main" val="3285953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350358" y="6415568"/>
            <a:ext cx="6873875" cy="215900"/>
          </a:xfrm>
        </p:spPr>
        <p:txBody>
          <a:bodyPr/>
          <a:lstStyle/>
          <a:p>
            <a:r>
              <a:rPr lang="en-US" noProof="0" dirty="0" smtClean="0"/>
              <a:t>OBT, Rolf Nilsson &amp; Anders Brokstorp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0E9AD42-C178-4DDF-86C3-EDC77BEDCFC5}" type="slidenum">
              <a:rPr lang="en-US" noProof="0" smtClean="0"/>
              <a:pPr/>
              <a:t>14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11132DB9-9048-4316-839A-9BC60E1BF060}" type="datetime1">
              <a:rPr lang="en-US" noProof="0" smtClean="0"/>
              <a:t>8/18/2016</a:t>
            </a:fld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74137" y="215309"/>
            <a:ext cx="8229600" cy="1143000"/>
          </a:xfrm>
        </p:spPr>
        <p:txBody>
          <a:bodyPr/>
          <a:lstStyle/>
          <a:p>
            <a:r>
              <a:rPr lang="sv-SE" dirty="0"/>
              <a:t>SW </a:t>
            </a:r>
            <a:r>
              <a:rPr lang="sv-SE" dirty="0" smtClean="0"/>
              <a:t>Factory – Team Set Up</a:t>
            </a:r>
            <a:endParaRPr lang="en-US" dirty="0"/>
          </a:p>
        </p:txBody>
      </p:sp>
      <p:graphicFrame>
        <p:nvGraphicFramePr>
          <p:cNvPr id="9" name="Content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33106308"/>
              </p:ext>
            </p:extLst>
          </p:nvPr>
        </p:nvGraphicFramePr>
        <p:xfrm>
          <a:off x="120938" y="1020727"/>
          <a:ext cx="8601740" cy="5029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Rectangle 6"/>
          <p:cNvSpPr/>
          <p:nvPr/>
        </p:nvSpPr>
        <p:spPr>
          <a:xfrm>
            <a:off x="829340" y="2062716"/>
            <a:ext cx="2169041" cy="4072270"/>
          </a:xfrm>
          <a:prstGeom prst="rect">
            <a:avLst/>
          </a:prstGeom>
          <a:solidFill>
            <a:schemeClr val="accent1">
              <a:alpha val="0"/>
            </a:schemeClr>
          </a:solidFill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dirty="0" smtClean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29339" y="2083981"/>
            <a:ext cx="216904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000" dirty="0" smtClean="0"/>
              <a:t>Scrum</a:t>
            </a:r>
            <a:endParaRPr lang="en-US" sz="2000" dirty="0" smtClean="0"/>
          </a:p>
        </p:txBody>
      </p:sp>
      <p:sp>
        <p:nvSpPr>
          <p:cNvPr id="10" name="Rectangle 9"/>
          <p:cNvSpPr/>
          <p:nvPr/>
        </p:nvSpPr>
        <p:spPr>
          <a:xfrm>
            <a:off x="2998380" y="2484091"/>
            <a:ext cx="5358811" cy="2036135"/>
          </a:xfrm>
          <a:prstGeom prst="rect">
            <a:avLst/>
          </a:prstGeom>
          <a:solidFill>
            <a:schemeClr val="accent1">
              <a:alpha val="0"/>
            </a:schemeClr>
          </a:solidFill>
          <a:ln w="5715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dirty="0" smtClean="0">
              <a:solidFill>
                <a:schemeClr val="tx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872715" y="3898796"/>
            <a:ext cx="216904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000" dirty="0" smtClean="0"/>
              <a:t>KanBan</a:t>
            </a:r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170748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/>
          <p:cNvSpPr/>
          <p:nvPr/>
        </p:nvSpPr>
        <p:spPr bwMode="auto">
          <a:xfrm>
            <a:off x="4268788" y="1790329"/>
            <a:ext cx="3888566" cy="2200646"/>
          </a:xfrm>
          <a:prstGeom prst="rect">
            <a:avLst/>
          </a:prstGeom>
          <a:solidFill>
            <a:srgbClr val="CCECFF"/>
          </a:solidFill>
          <a:ln w="444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innerShdw blurRad="63500" dist="50800" dir="8100000">
              <a:prstClr val="black">
                <a:alpha val="50000"/>
              </a:prstClr>
            </a:innerShdw>
          </a:effectLst>
          <a:extLst/>
        </p:spPr>
        <p:txBody>
          <a:bodyPr anchor="ctr"/>
          <a:lstStyle/>
          <a:p>
            <a:pPr>
              <a:defRPr/>
            </a:pPr>
            <a:endParaRPr lang="en-US"/>
          </a:p>
        </p:txBody>
      </p:sp>
      <p:sp>
        <p:nvSpPr>
          <p:cNvPr id="2" name="Rectangle 1"/>
          <p:cNvSpPr/>
          <p:nvPr/>
        </p:nvSpPr>
        <p:spPr bwMode="auto">
          <a:xfrm>
            <a:off x="1562100" y="4057651"/>
            <a:ext cx="5807075" cy="2200646"/>
          </a:xfrm>
          <a:prstGeom prst="rect">
            <a:avLst/>
          </a:prstGeom>
          <a:solidFill>
            <a:srgbClr val="CCECFF"/>
          </a:solidFill>
          <a:ln w="444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innerShdw blurRad="63500" dist="50800" dir="8100000">
              <a:prstClr val="black">
                <a:alpha val="50000"/>
              </a:prstClr>
            </a:innerShdw>
          </a:effectLst>
          <a:extLst/>
        </p:spPr>
        <p:txBody>
          <a:bodyPr anchor="ctr"/>
          <a:lstStyle/>
          <a:p>
            <a:pPr>
              <a:defRPr/>
            </a:pPr>
            <a:endParaRPr lang="en-US"/>
          </a:p>
        </p:txBody>
      </p:sp>
      <p:sp>
        <p:nvSpPr>
          <p:cNvPr id="27654" name="Rectangle 2"/>
          <p:cNvSpPr>
            <a:spLocks noGrp="1" noChangeArrowheads="1"/>
          </p:cNvSpPr>
          <p:nvPr>
            <p:ph type="title"/>
          </p:nvPr>
        </p:nvSpPr>
        <p:spPr>
          <a:xfrm>
            <a:off x="411163" y="109538"/>
            <a:ext cx="8229600" cy="1143000"/>
          </a:xfrm>
          <a:solidFill>
            <a:schemeClr val="bg1"/>
          </a:solidFill>
        </p:spPr>
        <p:txBody>
          <a:bodyPr/>
          <a:lstStyle/>
          <a:p>
            <a:r>
              <a:rPr lang="en-US" altLang="en-US" sz="2800" dirty="0" smtClean="0">
                <a:latin typeface="Times New Roman" pitchFamily="18" charset="0"/>
              </a:rPr>
              <a:t>V-cycle </a:t>
            </a:r>
          </a:p>
        </p:txBody>
      </p:sp>
      <p:sp>
        <p:nvSpPr>
          <p:cNvPr id="27692" name="Footer Placeholder 1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 eaLnBrk="0" hangingPunct="0">
              <a:spcBef>
                <a:spcPct val="40000"/>
              </a:spcBef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40000"/>
              </a:spcBef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4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000" smtClean="0"/>
              <a:t>GTT OBT  -Detailed Process Plan  version 1.0</a:t>
            </a:r>
            <a:endParaRPr lang="sv-SE" altLang="en-US" sz="1000" smtClean="0"/>
          </a:p>
        </p:txBody>
      </p:sp>
      <p:sp>
        <p:nvSpPr>
          <p:cNvPr id="27653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 eaLnBrk="0" hangingPunct="0">
              <a:spcBef>
                <a:spcPct val="40000"/>
              </a:spcBef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40000"/>
              </a:spcBef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4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fld id="{D28194D2-1488-4100-A830-32E17C11F5C2}" type="slidenum">
              <a:rPr lang="sv-SE" altLang="en-US" sz="1000" smtClean="0"/>
              <a:pPr eaLnBrk="1" hangingPunct="1">
                <a:spcBef>
                  <a:spcPct val="0"/>
                </a:spcBef>
                <a:buClrTx/>
                <a:buFontTx/>
                <a:buNone/>
              </a:pPr>
              <a:t>15</a:t>
            </a:fld>
            <a:endParaRPr lang="sv-SE" altLang="en-US" sz="1000" smtClean="0"/>
          </a:p>
        </p:txBody>
      </p:sp>
      <p:sp>
        <p:nvSpPr>
          <p:cNvPr id="27655" name="Line 6"/>
          <p:cNvSpPr>
            <a:spLocks noChangeShapeType="1"/>
          </p:cNvSpPr>
          <p:nvPr/>
        </p:nvSpPr>
        <p:spPr bwMode="auto">
          <a:xfrm>
            <a:off x="2330450" y="541338"/>
            <a:ext cx="1311275" cy="5270500"/>
          </a:xfrm>
          <a:prstGeom prst="line">
            <a:avLst/>
          </a:prstGeom>
          <a:noFill/>
          <a:ln w="123825">
            <a:solidFill>
              <a:srgbClr val="00B05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sv-SE"/>
          </a:p>
        </p:txBody>
      </p:sp>
      <p:sp>
        <p:nvSpPr>
          <p:cNvPr id="27656" name="Line 7"/>
          <p:cNvSpPr>
            <a:spLocks noChangeShapeType="1"/>
          </p:cNvSpPr>
          <p:nvPr/>
        </p:nvSpPr>
        <p:spPr bwMode="auto">
          <a:xfrm flipV="1">
            <a:off x="4891088" y="495300"/>
            <a:ext cx="1139825" cy="5308600"/>
          </a:xfrm>
          <a:prstGeom prst="line">
            <a:avLst/>
          </a:prstGeom>
          <a:noFill/>
          <a:ln w="123825">
            <a:solidFill>
              <a:srgbClr val="00B05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sv-SE"/>
          </a:p>
        </p:txBody>
      </p:sp>
      <p:sp>
        <p:nvSpPr>
          <p:cNvPr id="27657" name="Line 13"/>
          <p:cNvSpPr>
            <a:spLocks noChangeShapeType="1"/>
          </p:cNvSpPr>
          <p:nvPr/>
        </p:nvSpPr>
        <p:spPr bwMode="auto">
          <a:xfrm flipV="1">
            <a:off x="0" y="1103313"/>
            <a:ext cx="9144000" cy="635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sv-SE"/>
          </a:p>
        </p:txBody>
      </p:sp>
      <p:sp>
        <p:nvSpPr>
          <p:cNvPr id="27658" name="Text Box 14"/>
          <p:cNvSpPr txBox="1">
            <a:spLocks noChangeArrowheads="1"/>
          </p:cNvSpPr>
          <p:nvPr/>
        </p:nvSpPr>
        <p:spPr bwMode="auto">
          <a:xfrm>
            <a:off x="161925" y="708988"/>
            <a:ext cx="2270125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">
            <a:spAutoFit/>
          </a:bodyPr>
          <a:lstStyle>
            <a:lvl1pPr eaLnBrk="0" hangingPunct="0">
              <a:spcBef>
                <a:spcPct val="40000"/>
              </a:spcBef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40000"/>
              </a:spcBef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4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ClrTx/>
              <a:buFontTx/>
              <a:buNone/>
            </a:pPr>
            <a:r>
              <a:rPr lang="en-US" altLang="en-US" sz="900" u="sng" dirty="0">
                <a:solidFill>
                  <a:srgbClr val="BF1003"/>
                </a:solidFill>
              </a:rPr>
              <a:t>Complete Vehicle level </a:t>
            </a:r>
          </a:p>
        </p:txBody>
      </p:sp>
      <p:sp>
        <p:nvSpPr>
          <p:cNvPr id="27659" name="Line 21"/>
          <p:cNvSpPr>
            <a:spLocks noChangeShapeType="1"/>
          </p:cNvSpPr>
          <p:nvPr/>
        </p:nvSpPr>
        <p:spPr bwMode="auto">
          <a:xfrm flipV="1">
            <a:off x="98425" y="2397125"/>
            <a:ext cx="9045575" cy="19050"/>
          </a:xfrm>
          <a:prstGeom prst="line">
            <a:avLst/>
          </a:prstGeom>
          <a:noFill/>
          <a:ln w="635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sv-SE"/>
          </a:p>
        </p:txBody>
      </p:sp>
      <p:sp>
        <p:nvSpPr>
          <p:cNvPr id="27660" name="Text Box 22"/>
          <p:cNvSpPr txBox="1">
            <a:spLocks noChangeArrowheads="1"/>
          </p:cNvSpPr>
          <p:nvPr/>
        </p:nvSpPr>
        <p:spPr bwMode="auto">
          <a:xfrm>
            <a:off x="161925" y="1303338"/>
            <a:ext cx="23241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">
            <a:spAutoFit/>
          </a:bodyPr>
          <a:lstStyle>
            <a:lvl1pPr eaLnBrk="0" hangingPunct="0">
              <a:spcBef>
                <a:spcPct val="40000"/>
              </a:spcBef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40000"/>
              </a:spcBef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4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ClrTx/>
              <a:buFontTx/>
              <a:buNone/>
            </a:pPr>
            <a:r>
              <a:rPr lang="en-US" altLang="en-US" sz="900" u="sng">
                <a:solidFill>
                  <a:srgbClr val="BF1003"/>
                </a:solidFill>
              </a:rPr>
              <a:t>System (or sub-network) level</a:t>
            </a:r>
          </a:p>
        </p:txBody>
      </p:sp>
      <p:sp>
        <p:nvSpPr>
          <p:cNvPr id="27661" name="Text Box 23"/>
          <p:cNvSpPr txBox="1">
            <a:spLocks noChangeArrowheads="1"/>
          </p:cNvSpPr>
          <p:nvPr/>
        </p:nvSpPr>
        <p:spPr bwMode="auto">
          <a:xfrm>
            <a:off x="169863" y="3524250"/>
            <a:ext cx="14605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">
            <a:spAutoFit/>
          </a:bodyPr>
          <a:lstStyle>
            <a:lvl1pPr eaLnBrk="0" hangingPunct="0">
              <a:spcBef>
                <a:spcPct val="40000"/>
              </a:spcBef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40000"/>
              </a:spcBef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4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ClrTx/>
              <a:buFontTx/>
              <a:buNone/>
            </a:pPr>
            <a:r>
              <a:rPr lang="en-US" altLang="en-US" sz="900" u="sng">
                <a:solidFill>
                  <a:srgbClr val="BF1003"/>
                </a:solidFill>
              </a:rPr>
              <a:t>Component level</a:t>
            </a:r>
          </a:p>
        </p:txBody>
      </p:sp>
      <p:sp>
        <p:nvSpPr>
          <p:cNvPr id="27662" name="Text Box 24"/>
          <p:cNvSpPr txBox="1">
            <a:spLocks noChangeArrowheads="1"/>
          </p:cNvSpPr>
          <p:nvPr/>
        </p:nvSpPr>
        <p:spPr bwMode="auto">
          <a:xfrm>
            <a:off x="147638" y="5359400"/>
            <a:ext cx="14605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">
            <a:spAutoFit/>
          </a:bodyPr>
          <a:lstStyle>
            <a:lvl1pPr eaLnBrk="0" hangingPunct="0">
              <a:spcBef>
                <a:spcPct val="40000"/>
              </a:spcBef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40000"/>
              </a:spcBef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4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ClrTx/>
              <a:buFontTx/>
              <a:buNone/>
            </a:pPr>
            <a:r>
              <a:rPr lang="en-US" altLang="en-US" sz="900" u="sng">
                <a:solidFill>
                  <a:srgbClr val="BF1003"/>
                </a:solidFill>
              </a:rPr>
              <a:t>SWC level</a:t>
            </a:r>
          </a:p>
        </p:txBody>
      </p:sp>
      <p:sp>
        <p:nvSpPr>
          <p:cNvPr id="27663" name="Line 25"/>
          <p:cNvSpPr>
            <a:spLocks noChangeShapeType="1"/>
          </p:cNvSpPr>
          <p:nvPr/>
        </p:nvSpPr>
        <p:spPr bwMode="auto">
          <a:xfrm>
            <a:off x="0" y="5351463"/>
            <a:ext cx="9144000" cy="9525"/>
          </a:xfrm>
          <a:prstGeom prst="line">
            <a:avLst/>
          </a:prstGeom>
          <a:noFill/>
          <a:ln w="635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sv-SE"/>
          </a:p>
        </p:txBody>
      </p:sp>
      <p:sp>
        <p:nvSpPr>
          <p:cNvPr id="27664" name="Line 35"/>
          <p:cNvSpPr>
            <a:spLocks noChangeShapeType="1"/>
          </p:cNvSpPr>
          <p:nvPr/>
        </p:nvSpPr>
        <p:spPr bwMode="auto">
          <a:xfrm flipH="1" flipV="1">
            <a:off x="3662363" y="5797550"/>
            <a:ext cx="1212850" cy="11113"/>
          </a:xfrm>
          <a:prstGeom prst="line">
            <a:avLst/>
          </a:prstGeom>
          <a:noFill/>
          <a:ln w="123825">
            <a:solidFill>
              <a:srgbClr val="00B05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sv-SE"/>
          </a:p>
        </p:txBody>
      </p:sp>
      <p:sp>
        <p:nvSpPr>
          <p:cNvPr id="27665" name="Text Box 46"/>
          <p:cNvSpPr txBox="1">
            <a:spLocks noChangeArrowheads="1"/>
          </p:cNvSpPr>
          <p:nvPr/>
        </p:nvSpPr>
        <p:spPr bwMode="auto">
          <a:xfrm>
            <a:off x="161925" y="2557463"/>
            <a:ext cx="14605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">
            <a:spAutoFit/>
          </a:bodyPr>
          <a:lstStyle>
            <a:lvl1pPr eaLnBrk="0" hangingPunct="0">
              <a:spcBef>
                <a:spcPct val="40000"/>
              </a:spcBef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40000"/>
              </a:spcBef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4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ClrTx/>
              <a:buFontTx/>
              <a:buNone/>
            </a:pPr>
            <a:r>
              <a:rPr lang="en-US" altLang="en-US" sz="900" u="sng">
                <a:solidFill>
                  <a:srgbClr val="BF1003"/>
                </a:solidFill>
              </a:rPr>
              <a:t>ECU system level</a:t>
            </a:r>
          </a:p>
        </p:txBody>
      </p:sp>
      <p:sp>
        <p:nvSpPr>
          <p:cNvPr id="27666" name="Line 47"/>
          <p:cNvSpPr>
            <a:spLocks noChangeShapeType="1"/>
          </p:cNvSpPr>
          <p:nvPr/>
        </p:nvSpPr>
        <p:spPr bwMode="auto">
          <a:xfrm flipV="1">
            <a:off x="0" y="3459163"/>
            <a:ext cx="9144000" cy="95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sv-SE"/>
          </a:p>
        </p:txBody>
      </p:sp>
      <p:sp>
        <p:nvSpPr>
          <p:cNvPr id="27667" name="Text Box 36"/>
          <p:cNvSpPr txBox="1">
            <a:spLocks noChangeArrowheads="1"/>
          </p:cNvSpPr>
          <p:nvPr/>
        </p:nvSpPr>
        <p:spPr bwMode="auto">
          <a:xfrm>
            <a:off x="3295650" y="5892800"/>
            <a:ext cx="2198688" cy="25400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33996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40000"/>
              </a:spcBef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40000"/>
              </a:spcBef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4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"/>
              </a:spcBef>
              <a:buClr>
                <a:schemeClr val="accent2"/>
              </a:buClr>
              <a:buFontTx/>
              <a:buNone/>
            </a:pPr>
            <a:r>
              <a:rPr lang="en-US" altLang="en-US" sz="1000">
                <a:solidFill>
                  <a:srgbClr val="339966"/>
                </a:solidFill>
                <a:latin typeface="Times New Roman" pitchFamily="18" charset="0"/>
              </a:rPr>
              <a:t>SWC Implementation and delivery</a:t>
            </a:r>
          </a:p>
        </p:txBody>
      </p:sp>
      <p:sp>
        <p:nvSpPr>
          <p:cNvPr id="27668" name="Text Box 51"/>
          <p:cNvSpPr txBox="1">
            <a:spLocks noChangeArrowheads="1"/>
          </p:cNvSpPr>
          <p:nvPr/>
        </p:nvSpPr>
        <p:spPr bwMode="auto">
          <a:xfrm>
            <a:off x="5326063" y="5232400"/>
            <a:ext cx="1949450" cy="25400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33996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40000"/>
              </a:spcBef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40000"/>
              </a:spcBef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4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"/>
              </a:spcBef>
              <a:buClr>
                <a:schemeClr val="accent2"/>
              </a:buClr>
              <a:buFontTx/>
              <a:buNone/>
            </a:pPr>
            <a:r>
              <a:rPr lang="en-US" altLang="en-US" sz="1000">
                <a:solidFill>
                  <a:srgbClr val="339966"/>
                </a:solidFill>
                <a:latin typeface="Times New Roman" pitchFamily="18" charset="0"/>
              </a:rPr>
              <a:t>LDC Implementation and delivery</a:t>
            </a:r>
          </a:p>
        </p:txBody>
      </p:sp>
      <p:sp>
        <p:nvSpPr>
          <p:cNvPr id="4128" name="AutoShape 54"/>
          <p:cNvSpPr>
            <a:spLocks noChangeArrowheads="1"/>
          </p:cNvSpPr>
          <p:nvPr/>
        </p:nvSpPr>
        <p:spPr bwMode="auto">
          <a:xfrm>
            <a:off x="3775075" y="5954713"/>
            <a:ext cx="750888" cy="134937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lnTo>
                  <a:pt x="16200" y="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lnTo>
                  <a:pt x="135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lnTo>
                  <a:pt x="0" y="5400"/>
                </a:lnTo>
                <a:close/>
              </a:path>
            </a:pathLst>
          </a:custGeom>
          <a:solidFill>
            <a:srgbClr val="339966"/>
          </a:solidFill>
          <a:ln w="63500" algn="ctr">
            <a:solidFill>
              <a:srgbClr val="00206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  <p:sp>
        <p:nvSpPr>
          <p:cNvPr id="4129" name="AutoShape 55"/>
          <p:cNvSpPr>
            <a:spLocks noChangeArrowheads="1"/>
          </p:cNvSpPr>
          <p:nvPr/>
        </p:nvSpPr>
        <p:spPr bwMode="auto">
          <a:xfrm rot="-4567222">
            <a:off x="4989513" y="5318125"/>
            <a:ext cx="450850" cy="117475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lnTo>
                  <a:pt x="16200" y="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lnTo>
                  <a:pt x="135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lnTo>
                  <a:pt x="0" y="5400"/>
                </a:lnTo>
                <a:close/>
              </a:path>
            </a:pathLst>
          </a:custGeom>
          <a:solidFill>
            <a:srgbClr val="339966"/>
          </a:solidFill>
          <a:ln w="63500" algn="ctr">
            <a:solidFill>
              <a:srgbClr val="00206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  <p:sp>
        <p:nvSpPr>
          <p:cNvPr id="27671" name="Text Box 56"/>
          <p:cNvSpPr txBox="1">
            <a:spLocks noChangeArrowheads="1"/>
          </p:cNvSpPr>
          <p:nvPr/>
        </p:nvSpPr>
        <p:spPr bwMode="auto">
          <a:xfrm>
            <a:off x="5594350" y="3333750"/>
            <a:ext cx="3482975" cy="25400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33996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40000"/>
              </a:spcBef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40000"/>
              </a:spcBef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4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"/>
              </a:spcBef>
              <a:buClr>
                <a:schemeClr val="accent2"/>
              </a:buClr>
              <a:buFontTx/>
              <a:buNone/>
            </a:pPr>
            <a:r>
              <a:rPr lang="en-US" altLang="en-US" sz="1000">
                <a:solidFill>
                  <a:srgbClr val="339966"/>
                </a:solidFill>
                <a:latin typeface="Times New Roman" pitchFamily="18" charset="0"/>
              </a:rPr>
              <a:t>ECU(HW+SW) delivery- ECU </a:t>
            </a:r>
          </a:p>
        </p:txBody>
      </p:sp>
      <p:sp>
        <p:nvSpPr>
          <p:cNvPr id="4131" name="AutoShape 57"/>
          <p:cNvSpPr>
            <a:spLocks noChangeArrowheads="1"/>
          </p:cNvSpPr>
          <p:nvPr/>
        </p:nvSpPr>
        <p:spPr bwMode="auto">
          <a:xfrm rot="-4567222">
            <a:off x="5411788" y="3409950"/>
            <a:ext cx="450850" cy="117475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lnTo>
                  <a:pt x="16200" y="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lnTo>
                  <a:pt x="135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lnTo>
                  <a:pt x="0" y="5400"/>
                </a:lnTo>
                <a:close/>
              </a:path>
            </a:pathLst>
          </a:custGeom>
          <a:solidFill>
            <a:srgbClr val="339966"/>
          </a:solidFill>
          <a:ln w="63500" algn="ctr">
            <a:solidFill>
              <a:srgbClr val="00206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  <p:sp>
        <p:nvSpPr>
          <p:cNvPr id="27673" name="Text Box 58"/>
          <p:cNvSpPr txBox="1">
            <a:spLocks noChangeArrowheads="1"/>
          </p:cNvSpPr>
          <p:nvPr/>
        </p:nvSpPr>
        <p:spPr bwMode="auto">
          <a:xfrm>
            <a:off x="5878513" y="2201863"/>
            <a:ext cx="2020887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33996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40000"/>
              </a:spcBef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40000"/>
              </a:spcBef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4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"/>
              </a:spcBef>
              <a:buClr>
                <a:schemeClr val="accent2"/>
              </a:buClr>
              <a:buFontTx/>
              <a:buNone/>
            </a:pPr>
            <a:r>
              <a:rPr lang="en-US" altLang="en-US" sz="1000">
                <a:solidFill>
                  <a:srgbClr val="339966"/>
                </a:solidFill>
                <a:latin typeface="Times New Roman" pitchFamily="18" charset="0"/>
              </a:rPr>
              <a:t>ECU(HW+SW) E2E system  delivery</a:t>
            </a:r>
          </a:p>
        </p:txBody>
      </p:sp>
      <p:sp>
        <p:nvSpPr>
          <p:cNvPr id="4133" name="AutoShape 59"/>
          <p:cNvSpPr>
            <a:spLocks noChangeArrowheads="1"/>
          </p:cNvSpPr>
          <p:nvPr/>
        </p:nvSpPr>
        <p:spPr bwMode="auto">
          <a:xfrm rot="-4567222">
            <a:off x="5627688" y="2382837"/>
            <a:ext cx="450850" cy="117475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lnTo>
                  <a:pt x="16200" y="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lnTo>
                  <a:pt x="135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lnTo>
                  <a:pt x="0" y="5400"/>
                </a:lnTo>
                <a:close/>
              </a:path>
            </a:pathLst>
          </a:custGeom>
          <a:solidFill>
            <a:srgbClr val="339966"/>
          </a:solidFill>
          <a:ln w="63500" algn="ctr">
            <a:solidFill>
              <a:srgbClr val="00206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  <p:sp>
        <p:nvSpPr>
          <p:cNvPr id="27675" name="Text Box 60"/>
          <p:cNvSpPr txBox="1">
            <a:spLocks noChangeArrowheads="1"/>
          </p:cNvSpPr>
          <p:nvPr/>
        </p:nvSpPr>
        <p:spPr bwMode="auto">
          <a:xfrm>
            <a:off x="6024563" y="946150"/>
            <a:ext cx="2305050" cy="24606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33996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40000"/>
              </a:spcBef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40000"/>
              </a:spcBef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4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"/>
              </a:spcBef>
              <a:buClr>
                <a:schemeClr val="accent2"/>
              </a:buClr>
              <a:buFontTx/>
              <a:buNone/>
            </a:pPr>
            <a:r>
              <a:rPr lang="en-US" altLang="en-US" sz="1000">
                <a:solidFill>
                  <a:srgbClr val="339966"/>
                </a:solidFill>
                <a:latin typeface="Times New Roman" pitchFamily="18" charset="0"/>
              </a:rPr>
              <a:t> system Implementation and delivery</a:t>
            </a:r>
          </a:p>
        </p:txBody>
      </p:sp>
      <p:sp>
        <p:nvSpPr>
          <p:cNvPr id="4135" name="AutoShape 61"/>
          <p:cNvSpPr>
            <a:spLocks noChangeArrowheads="1"/>
          </p:cNvSpPr>
          <p:nvPr/>
        </p:nvSpPr>
        <p:spPr bwMode="auto">
          <a:xfrm rot="-4567222">
            <a:off x="5953126" y="990600"/>
            <a:ext cx="450850" cy="117475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lnTo>
                  <a:pt x="16200" y="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lnTo>
                  <a:pt x="135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lnTo>
                  <a:pt x="0" y="5400"/>
                </a:lnTo>
                <a:close/>
              </a:path>
            </a:pathLst>
          </a:custGeom>
          <a:solidFill>
            <a:srgbClr val="339966"/>
          </a:solidFill>
          <a:ln w="63500" algn="ctr">
            <a:solidFill>
              <a:srgbClr val="00206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  <p:sp>
        <p:nvSpPr>
          <p:cNvPr id="27677" name="Text Box 78"/>
          <p:cNvSpPr txBox="1">
            <a:spLocks noChangeArrowheads="1"/>
          </p:cNvSpPr>
          <p:nvPr/>
        </p:nvSpPr>
        <p:spPr bwMode="auto">
          <a:xfrm>
            <a:off x="533400" y="2286000"/>
            <a:ext cx="1409700" cy="24606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33996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40000"/>
              </a:spcBef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40000"/>
              </a:spcBef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4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"/>
              </a:spcBef>
              <a:buClr>
                <a:schemeClr val="accent2"/>
              </a:buClr>
              <a:buFontTx/>
              <a:buNone/>
            </a:pPr>
            <a:r>
              <a:rPr lang="en-US" altLang="en-US" sz="1000">
                <a:solidFill>
                  <a:srgbClr val="339966"/>
                </a:solidFill>
                <a:latin typeface="Times New Roman" pitchFamily="18" charset="0"/>
              </a:rPr>
              <a:t>E2EF spec</a:t>
            </a:r>
          </a:p>
        </p:txBody>
      </p:sp>
      <p:sp>
        <p:nvSpPr>
          <p:cNvPr id="4137" name="AutoShape 79"/>
          <p:cNvSpPr>
            <a:spLocks noChangeArrowheads="1"/>
          </p:cNvSpPr>
          <p:nvPr/>
        </p:nvSpPr>
        <p:spPr bwMode="auto">
          <a:xfrm rot="4471313">
            <a:off x="2278063" y="2382837"/>
            <a:ext cx="450850" cy="117475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lnTo>
                  <a:pt x="16200" y="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lnTo>
                  <a:pt x="135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lnTo>
                  <a:pt x="0" y="5400"/>
                </a:lnTo>
                <a:close/>
              </a:path>
            </a:pathLst>
          </a:custGeom>
          <a:solidFill>
            <a:srgbClr val="339966"/>
          </a:solidFill>
          <a:ln w="63500" algn="ctr">
            <a:solidFill>
              <a:srgbClr val="00206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  <p:sp>
        <p:nvSpPr>
          <p:cNvPr id="27679" name="Text Box 80"/>
          <p:cNvSpPr txBox="1">
            <a:spLocks noChangeArrowheads="1"/>
          </p:cNvSpPr>
          <p:nvPr/>
        </p:nvSpPr>
        <p:spPr bwMode="auto">
          <a:xfrm>
            <a:off x="1352550" y="3325813"/>
            <a:ext cx="1439863" cy="25400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33996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40000"/>
              </a:spcBef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40000"/>
              </a:spcBef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4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"/>
              </a:spcBef>
              <a:buClr>
                <a:schemeClr val="accent2"/>
              </a:buClr>
              <a:buFontTx/>
              <a:buNone/>
            </a:pPr>
            <a:r>
              <a:rPr lang="en-US" altLang="en-US" sz="1000">
                <a:solidFill>
                  <a:srgbClr val="339966"/>
                </a:solidFill>
                <a:latin typeface="Times New Roman" pitchFamily="18" charset="0"/>
              </a:rPr>
              <a:t>ECU-system spec</a:t>
            </a:r>
          </a:p>
        </p:txBody>
      </p:sp>
      <p:sp>
        <p:nvSpPr>
          <p:cNvPr id="4139" name="AutoShape 81"/>
          <p:cNvSpPr>
            <a:spLocks noChangeArrowheads="1"/>
          </p:cNvSpPr>
          <p:nvPr/>
        </p:nvSpPr>
        <p:spPr bwMode="auto">
          <a:xfrm rot="4471313">
            <a:off x="2590801" y="3436937"/>
            <a:ext cx="450850" cy="117475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lnTo>
                  <a:pt x="16200" y="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lnTo>
                  <a:pt x="135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lnTo>
                  <a:pt x="0" y="5400"/>
                </a:lnTo>
                <a:close/>
              </a:path>
            </a:pathLst>
          </a:custGeom>
          <a:solidFill>
            <a:srgbClr val="339966"/>
          </a:solidFill>
          <a:ln w="63500" algn="ctr">
            <a:solidFill>
              <a:srgbClr val="00206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  <p:sp>
        <p:nvSpPr>
          <p:cNvPr id="27681" name="Text Box 82"/>
          <p:cNvSpPr txBox="1">
            <a:spLocks noChangeArrowheads="1"/>
          </p:cNvSpPr>
          <p:nvPr/>
        </p:nvSpPr>
        <p:spPr bwMode="auto">
          <a:xfrm>
            <a:off x="2352675" y="5219700"/>
            <a:ext cx="754063" cy="25400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33996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40000"/>
              </a:spcBef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40000"/>
              </a:spcBef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4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"/>
              </a:spcBef>
              <a:buClr>
                <a:schemeClr val="accent2"/>
              </a:buClr>
              <a:buFontTx/>
              <a:buNone/>
            </a:pPr>
            <a:r>
              <a:rPr lang="en-US" altLang="en-US" sz="1000">
                <a:solidFill>
                  <a:srgbClr val="339966"/>
                </a:solidFill>
                <a:latin typeface="Times New Roman" pitchFamily="18" charset="0"/>
              </a:rPr>
              <a:t>LDC spec</a:t>
            </a:r>
          </a:p>
        </p:txBody>
      </p:sp>
      <p:sp>
        <p:nvSpPr>
          <p:cNvPr id="4141" name="AutoShape 83"/>
          <p:cNvSpPr>
            <a:spLocks noChangeArrowheads="1"/>
          </p:cNvSpPr>
          <p:nvPr/>
        </p:nvSpPr>
        <p:spPr bwMode="auto">
          <a:xfrm rot="4471313">
            <a:off x="3086101" y="5318125"/>
            <a:ext cx="450850" cy="117475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lnTo>
                  <a:pt x="16200" y="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lnTo>
                  <a:pt x="135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lnTo>
                  <a:pt x="0" y="5400"/>
                </a:lnTo>
                <a:close/>
              </a:path>
            </a:pathLst>
          </a:custGeom>
          <a:solidFill>
            <a:srgbClr val="339966"/>
          </a:solidFill>
          <a:ln w="63500" algn="ctr">
            <a:solidFill>
              <a:srgbClr val="00206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  <p:sp>
        <p:nvSpPr>
          <p:cNvPr id="27683" name="Text Box 84"/>
          <p:cNvSpPr txBox="1">
            <a:spLocks noChangeArrowheads="1"/>
          </p:cNvSpPr>
          <p:nvPr/>
        </p:nvSpPr>
        <p:spPr bwMode="auto">
          <a:xfrm>
            <a:off x="771525" y="966788"/>
            <a:ext cx="1477963" cy="24606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33996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40000"/>
              </a:spcBef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40000"/>
              </a:spcBef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4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"/>
              </a:spcBef>
              <a:buClr>
                <a:schemeClr val="accent2"/>
              </a:buClr>
              <a:buFontTx/>
              <a:buNone/>
            </a:pPr>
            <a:r>
              <a:rPr lang="en-US" altLang="en-US" sz="1000">
                <a:solidFill>
                  <a:srgbClr val="339966"/>
                </a:solidFill>
                <a:latin typeface="Times New Roman" pitchFamily="18" charset="0"/>
              </a:rPr>
              <a:t>  Truck feature  spec</a:t>
            </a:r>
          </a:p>
        </p:txBody>
      </p:sp>
      <p:sp>
        <p:nvSpPr>
          <p:cNvPr id="4143" name="AutoShape 85"/>
          <p:cNvSpPr>
            <a:spLocks noChangeArrowheads="1"/>
          </p:cNvSpPr>
          <p:nvPr/>
        </p:nvSpPr>
        <p:spPr bwMode="auto">
          <a:xfrm rot="4471313">
            <a:off x="1997076" y="1068387"/>
            <a:ext cx="450850" cy="117475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lnTo>
                  <a:pt x="16200" y="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lnTo>
                  <a:pt x="135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lnTo>
                  <a:pt x="0" y="5400"/>
                </a:lnTo>
                <a:close/>
              </a:path>
            </a:pathLst>
          </a:custGeom>
          <a:solidFill>
            <a:srgbClr val="339966"/>
          </a:solidFill>
          <a:ln w="63500" algn="ctr">
            <a:solidFill>
              <a:srgbClr val="00206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  <p:sp>
        <p:nvSpPr>
          <p:cNvPr id="27685" name="Text Box 94"/>
          <p:cNvSpPr txBox="1">
            <a:spLocks noChangeArrowheads="1"/>
          </p:cNvSpPr>
          <p:nvPr/>
        </p:nvSpPr>
        <p:spPr bwMode="auto">
          <a:xfrm>
            <a:off x="6316663" y="2986088"/>
            <a:ext cx="1433512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40000"/>
              </a:spcBef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40000"/>
              </a:spcBef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4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"/>
              </a:spcBef>
              <a:buClr>
                <a:schemeClr val="accent2"/>
              </a:buClr>
              <a:buFontTx/>
              <a:buNone/>
            </a:pPr>
            <a:endParaRPr lang="en-US" altLang="en-US" sz="900">
              <a:solidFill>
                <a:srgbClr val="FF3300"/>
              </a:solidFill>
              <a:latin typeface="Times New Roman" pitchFamily="18" charset="0"/>
            </a:endParaRPr>
          </a:p>
        </p:txBody>
      </p:sp>
      <p:sp>
        <p:nvSpPr>
          <p:cNvPr id="27686" name="Text Box 99"/>
          <p:cNvSpPr txBox="1">
            <a:spLocks noChangeArrowheads="1"/>
          </p:cNvSpPr>
          <p:nvPr/>
        </p:nvSpPr>
        <p:spPr bwMode="auto">
          <a:xfrm>
            <a:off x="6289675" y="1874838"/>
            <a:ext cx="557213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40000"/>
              </a:spcBef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40000"/>
              </a:spcBef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4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"/>
              </a:spcBef>
              <a:buClr>
                <a:schemeClr val="accent2"/>
              </a:buClr>
              <a:buFontTx/>
              <a:buNone/>
            </a:pPr>
            <a:endParaRPr lang="en-US" altLang="en-US" sz="900">
              <a:solidFill>
                <a:srgbClr val="FF3300"/>
              </a:solidFill>
              <a:latin typeface="Times New Roman" pitchFamily="18" charset="0"/>
            </a:endParaRPr>
          </a:p>
        </p:txBody>
      </p:sp>
      <p:sp>
        <p:nvSpPr>
          <p:cNvPr id="27687" name="Text Box 103"/>
          <p:cNvSpPr txBox="1">
            <a:spLocks noChangeArrowheads="1"/>
          </p:cNvSpPr>
          <p:nvPr/>
        </p:nvSpPr>
        <p:spPr bwMode="auto">
          <a:xfrm>
            <a:off x="6811963" y="566738"/>
            <a:ext cx="557212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40000"/>
              </a:spcBef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40000"/>
              </a:spcBef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4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"/>
              </a:spcBef>
              <a:buClr>
                <a:schemeClr val="accent2"/>
              </a:buClr>
              <a:buFontTx/>
              <a:buNone/>
            </a:pPr>
            <a:endParaRPr lang="en-US" altLang="en-US" sz="900">
              <a:solidFill>
                <a:srgbClr val="FF3300"/>
              </a:solidFill>
              <a:latin typeface="Times New Roman" pitchFamily="18" charset="0"/>
            </a:endParaRPr>
          </a:p>
        </p:txBody>
      </p:sp>
      <p:cxnSp>
        <p:nvCxnSpPr>
          <p:cNvPr id="10" name="Straight Arrow Connector 9"/>
          <p:cNvCxnSpPr>
            <a:cxnSpLocks noChangeShapeType="1"/>
          </p:cNvCxnSpPr>
          <p:nvPr/>
        </p:nvCxnSpPr>
        <p:spPr bwMode="auto">
          <a:xfrm>
            <a:off x="2620963" y="893763"/>
            <a:ext cx="1219200" cy="4716462"/>
          </a:xfrm>
          <a:prstGeom prst="straightConnector1">
            <a:avLst/>
          </a:prstGeom>
          <a:noFill/>
          <a:ln w="63500" algn="ctr">
            <a:solidFill>
              <a:srgbClr val="FFC000"/>
            </a:solidFill>
            <a:round/>
            <a:headEnd type="arrow" w="med" len="med"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9" name="Straight Arrow Connector 98"/>
          <p:cNvCxnSpPr>
            <a:cxnSpLocks noChangeShapeType="1"/>
          </p:cNvCxnSpPr>
          <p:nvPr/>
        </p:nvCxnSpPr>
        <p:spPr bwMode="auto">
          <a:xfrm>
            <a:off x="2986088" y="2103438"/>
            <a:ext cx="2339975" cy="0"/>
          </a:xfrm>
          <a:prstGeom prst="straightConnector1">
            <a:avLst/>
          </a:prstGeom>
          <a:noFill/>
          <a:ln w="88900" algn="ctr">
            <a:solidFill>
              <a:srgbClr val="FFC000"/>
            </a:solidFill>
            <a:round/>
            <a:headEnd type="arrow" w="med" len="med"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1" name="Straight Arrow Connector 100"/>
          <p:cNvCxnSpPr>
            <a:cxnSpLocks noChangeShapeType="1"/>
          </p:cNvCxnSpPr>
          <p:nvPr/>
        </p:nvCxnSpPr>
        <p:spPr bwMode="auto">
          <a:xfrm flipV="1">
            <a:off x="3157538" y="3100388"/>
            <a:ext cx="2089150" cy="0"/>
          </a:xfrm>
          <a:prstGeom prst="straightConnector1">
            <a:avLst/>
          </a:prstGeom>
          <a:noFill/>
          <a:ln w="88900" algn="ctr">
            <a:solidFill>
              <a:srgbClr val="FFC000"/>
            </a:solidFill>
            <a:round/>
            <a:headEnd type="arrow" w="med" len="med"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3" name="Straight Arrow Connector 102"/>
          <p:cNvCxnSpPr>
            <a:cxnSpLocks noChangeShapeType="1"/>
          </p:cNvCxnSpPr>
          <p:nvPr/>
        </p:nvCxnSpPr>
        <p:spPr bwMode="auto">
          <a:xfrm flipV="1">
            <a:off x="3616325" y="5008563"/>
            <a:ext cx="1117600" cy="0"/>
          </a:xfrm>
          <a:prstGeom prst="straightConnector1">
            <a:avLst/>
          </a:prstGeom>
          <a:noFill/>
          <a:ln w="88900" algn="ctr">
            <a:solidFill>
              <a:srgbClr val="FFC000"/>
            </a:solidFill>
            <a:round/>
            <a:headEnd type="arrow" w="med" len="med"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" name="Straight Arrow Connector 42"/>
          <p:cNvCxnSpPr>
            <a:cxnSpLocks noChangeShapeType="1"/>
          </p:cNvCxnSpPr>
          <p:nvPr/>
        </p:nvCxnSpPr>
        <p:spPr bwMode="auto">
          <a:xfrm flipV="1">
            <a:off x="2686050" y="795338"/>
            <a:ext cx="2944813" cy="42862"/>
          </a:xfrm>
          <a:prstGeom prst="straightConnector1">
            <a:avLst/>
          </a:prstGeom>
          <a:noFill/>
          <a:ln w="88900" algn="ctr">
            <a:solidFill>
              <a:srgbClr val="FFC000"/>
            </a:solidFill>
            <a:round/>
            <a:headEnd type="arrow" w="med" len="med"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" name="Straight Arrow Connector 51"/>
          <p:cNvCxnSpPr>
            <a:cxnSpLocks noChangeShapeType="1"/>
          </p:cNvCxnSpPr>
          <p:nvPr/>
        </p:nvCxnSpPr>
        <p:spPr bwMode="auto">
          <a:xfrm flipH="1">
            <a:off x="4800600" y="946150"/>
            <a:ext cx="869950" cy="4632325"/>
          </a:xfrm>
          <a:prstGeom prst="straightConnector1">
            <a:avLst/>
          </a:prstGeom>
          <a:noFill/>
          <a:ln w="63500" algn="ctr">
            <a:solidFill>
              <a:srgbClr val="FFC000"/>
            </a:solidFill>
            <a:round/>
            <a:headEnd type="arrow" w="med" len="med"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695" name="TextBox 2"/>
          <p:cNvSpPr txBox="1">
            <a:spLocks noChangeArrowheads="1"/>
          </p:cNvSpPr>
          <p:nvPr/>
        </p:nvSpPr>
        <p:spPr bwMode="auto">
          <a:xfrm>
            <a:off x="5964212" y="4180980"/>
            <a:ext cx="1314450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40000"/>
              </a:spcBef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40000"/>
              </a:spcBef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4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ClrTx/>
              <a:buFontTx/>
              <a:buNone/>
            </a:pPr>
            <a:r>
              <a:rPr lang="en-GB" altLang="en-US" sz="1400" b="1"/>
              <a:t>SW factory</a:t>
            </a:r>
            <a:r>
              <a:rPr lang="sv-SE" altLang="en-US" sz="1400" b="1"/>
              <a:t>-</a:t>
            </a:r>
            <a:r>
              <a:rPr lang="en-GB" altLang="en-US" sz="1400" b="1"/>
              <a:t>Agile way of working</a:t>
            </a:r>
            <a:endParaRPr lang="en-US" altLang="en-US" sz="1400" b="1"/>
          </a:p>
        </p:txBody>
      </p:sp>
      <p:sp>
        <p:nvSpPr>
          <p:cNvPr id="47" name="TextBox 2"/>
          <p:cNvSpPr txBox="1">
            <a:spLocks noChangeArrowheads="1"/>
          </p:cNvSpPr>
          <p:nvPr/>
        </p:nvSpPr>
        <p:spPr bwMode="auto">
          <a:xfrm>
            <a:off x="5964211" y="1767383"/>
            <a:ext cx="236540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40000"/>
              </a:spcBef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40000"/>
              </a:spcBef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4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ClrTx/>
              <a:buFontTx/>
              <a:buNone/>
            </a:pPr>
            <a:r>
              <a:rPr lang="sv-SE" altLang="en-US" sz="1400" b="1" dirty="0" smtClean="0"/>
              <a:t>Kanban - Agile way of working</a:t>
            </a:r>
            <a:endParaRPr lang="en-US" alt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1735885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Start of sprints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 noProof="0" smtClean="0"/>
              <a:t>BF7700, Johanna Karlsson &amp; Anders Brokstorp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0E9AD42-C178-4DDF-86C3-EDC77BEDCFC5}" type="slidenum">
              <a:rPr lang="en-US" noProof="0" smtClean="0"/>
              <a:pPr/>
              <a:t>16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74D30FB-8D14-4EDE-8A6F-6996BA94C06A}" type="datetime1">
              <a:rPr lang="en-US" noProof="0" smtClean="0"/>
              <a:t>8/18/2016</a:t>
            </a:fld>
            <a:endParaRPr lang="en-US" noProof="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57889" y="1154869"/>
            <a:ext cx="3958792" cy="3898900"/>
          </a:xfrm>
        </p:spPr>
        <p:txBody>
          <a:bodyPr>
            <a:normAutofit/>
          </a:bodyPr>
          <a:lstStyle/>
          <a:p>
            <a:r>
              <a:rPr lang="sv-SE" dirty="0" smtClean="0"/>
              <a:t>Sprints and scrum teams will start each week:</a:t>
            </a:r>
          </a:p>
          <a:p>
            <a:pPr lvl="1"/>
            <a:r>
              <a:rPr lang="sv-SE" dirty="0" smtClean="0"/>
              <a:t>Which will make the organisation more flexible. Take care of PRs quickly</a:t>
            </a:r>
          </a:p>
          <a:p>
            <a:pPr lvl="1"/>
            <a:r>
              <a:rPr lang="sv-SE" dirty="0"/>
              <a:t>This requires a new CM plan for branches</a:t>
            </a:r>
          </a:p>
          <a:p>
            <a:pPr lvl="1"/>
            <a:endParaRPr lang="sv-SE" dirty="0" smtClean="0"/>
          </a:p>
        </p:txBody>
      </p:sp>
      <p:sp>
        <p:nvSpPr>
          <p:cNvPr id="7" name="Content Placeholder 6"/>
          <p:cNvSpPr>
            <a:spLocks noGrp="1"/>
          </p:cNvSpPr>
          <p:nvPr>
            <p:ph idx="13"/>
          </p:nvPr>
        </p:nvSpPr>
        <p:spPr>
          <a:xfrm>
            <a:off x="4536454" y="1876425"/>
            <a:ext cx="3958792" cy="1816801"/>
          </a:xfrm>
        </p:spPr>
        <p:txBody>
          <a:bodyPr/>
          <a:lstStyle/>
          <a:p>
            <a:pPr marL="212725" lvl="1" indent="-212725">
              <a:buFont typeface="Symbol" pitchFamily="18" charset="2"/>
              <a:buChar char="·"/>
            </a:pPr>
            <a:r>
              <a:rPr lang="sv-SE" dirty="0"/>
              <a:t>Projects have to plan the CRs and BLIs to match the deliveries to the Projects and the WP plan</a:t>
            </a:r>
            <a:endParaRPr lang="en-US" dirty="0"/>
          </a:p>
          <a:p>
            <a:endParaRPr lang="sv-SE" dirty="0"/>
          </a:p>
        </p:txBody>
      </p:sp>
      <p:cxnSp>
        <p:nvCxnSpPr>
          <p:cNvPr id="10" name="Straight Arrow Connector 9"/>
          <p:cNvCxnSpPr/>
          <p:nvPr/>
        </p:nvCxnSpPr>
        <p:spPr>
          <a:xfrm flipV="1">
            <a:off x="237514" y="4417636"/>
            <a:ext cx="8182099" cy="1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338454" y="3990125"/>
            <a:ext cx="51063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000" dirty="0" smtClean="0"/>
              <a:t>w01</a:t>
            </a:r>
            <a:endParaRPr lang="en-US" sz="1000" dirty="0" smtClean="0"/>
          </a:p>
        </p:txBody>
      </p:sp>
      <p:sp>
        <p:nvSpPr>
          <p:cNvPr id="18" name="TextBox 17"/>
          <p:cNvSpPr txBox="1"/>
          <p:nvPr/>
        </p:nvSpPr>
        <p:spPr>
          <a:xfrm>
            <a:off x="2725329" y="3939466"/>
            <a:ext cx="51063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000" dirty="0" smtClean="0"/>
              <a:t>w04</a:t>
            </a:r>
            <a:endParaRPr lang="en-US" sz="1000" dirty="0" smtClean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593774" y="4227631"/>
            <a:ext cx="0" cy="344385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1387424" y="4225656"/>
            <a:ext cx="0" cy="344385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1387424" y="4237531"/>
            <a:ext cx="0" cy="344385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2181074" y="4235556"/>
            <a:ext cx="0" cy="344385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2183049" y="4237531"/>
            <a:ext cx="0" cy="344385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2976699" y="4235556"/>
            <a:ext cx="0" cy="344385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2976699" y="4247431"/>
            <a:ext cx="0" cy="344385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3770349" y="4245456"/>
            <a:ext cx="0" cy="344385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3762424" y="4261281"/>
            <a:ext cx="0" cy="344385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4556074" y="4259306"/>
            <a:ext cx="0" cy="344385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4556074" y="4271181"/>
            <a:ext cx="0" cy="344385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5349724" y="4269206"/>
            <a:ext cx="0" cy="344385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6145349" y="4269206"/>
            <a:ext cx="0" cy="344385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>
            <a:off x="6145349" y="4281081"/>
            <a:ext cx="0" cy="344385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6938999" y="4279106"/>
            <a:ext cx="0" cy="344385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639247" y="4655148"/>
            <a:ext cx="3123177" cy="246221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sv-SE" sz="1000" dirty="0" smtClean="0"/>
              <a:t>Sprint team 1</a:t>
            </a:r>
            <a:endParaRPr lang="en-US" sz="1000" dirty="0" smtClean="0"/>
          </a:p>
        </p:txBody>
      </p:sp>
      <p:sp>
        <p:nvSpPr>
          <p:cNvPr id="39" name="TextBox 38"/>
          <p:cNvSpPr txBox="1"/>
          <p:nvPr/>
        </p:nvSpPr>
        <p:spPr>
          <a:xfrm>
            <a:off x="1424972" y="5053769"/>
            <a:ext cx="3131102" cy="246221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sv-SE" sz="1000" dirty="0" smtClean="0"/>
              <a:t>Sprint team 2</a:t>
            </a:r>
            <a:endParaRPr lang="en-US" sz="1000" dirty="0" smtClean="0"/>
          </a:p>
        </p:txBody>
      </p:sp>
      <p:sp>
        <p:nvSpPr>
          <p:cNvPr id="40" name="TextBox 39"/>
          <p:cNvSpPr txBox="1"/>
          <p:nvPr/>
        </p:nvSpPr>
        <p:spPr>
          <a:xfrm>
            <a:off x="2204772" y="5425048"/>
            <a:ext cx="3143961" cy="246221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sv-SE" sz="1000" dirty="0" smtClean="0"/>
              <a:t>Sprint team 3</a:t>
            </a:r>
            <a:endParaRPr lang="en-US" sz="1000" dirty="0" smtClean="0"/>
          </a:p>
        </p:txBody>
      </p:sp>
      <p:sp>
        <p:nvSpPr>
          <p:cNvPr id="41" name="TextBox 40"/>
          <p:cNvSpPr txBox="1"/>
          <p:nvPr/>
        </p:nvSpPr>
        <p:spPr>
          <a:xfrm>
            <a:off x="6123574" y="5823670"/>
            <a:ext cx="3156723" cy="24621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sv-SE" sz="1000" dirty="0" smtClean="0"/>
              <a:t>Sprint team 4</a:t>
            </a:r>
            <a:endParaRPr lang="en-US" sz="1000" dirty="0" smtClean="0"/>
          </a:p>
        </p:txBody>
      </p:sp>
      <p:sp>
        <p:nvSpPr>
          <p:cNvPr id="42" name="TextBox 41"/>
          <p:cNvSpPr txBox="1"/>
          <p:nvPr/>
        </p:nvSpPr>
        <p:spPr>
          <a:xfrm>
            <a:off x="4203778" y="3804966"/>
            <a:ext cx="74824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000" dirty="0" smtClean="0"/>
              <a:t>Code Freeze</a:t>
            </a:r>
            <a:endParaRPr lang="en-US" sz="1000" dirty="0" smtClean="0"/>
          </a:p>
        </p:txBody>
      </p:sp>
      <p:sp>
        <p:nvSpPr>
          <p:cNvPr id="46" name="TextBox 45"/>
          <p:cNvSpPr txBox="1"/>
          <p:nvPr/>
        </p:nvSpPr>
        <p:spPr>
          <a:xfrm>
            <a:off x="3770350" y="4655148"/>
            <a:ext cx="3156766" cy="246220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sv-SE" sz="1000" dirty="0" smtClean="0"/>
              <a:t>Sprint team 1</a:t>
            </a:r>
            <a:endParaRPr lang="en-US" sz="1000" dirty="0" smtClean="0"/>
          </a:p>
        </p:txBody>
      </p:sp>
      <p:sp>
        <p:nvSpPr>
          <p:cNvPr id="47" name="TextBox 46"/>
          <p:cNvSpPr txBox="1"/>
          <p:nvPr/>
        </p:nvSpPr>
        <p:spPr>
          <a:xfrm>
            <a:off x="4556074" y="5053769"/>
            <a:ext cx="3168641" cy="246220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sv-SE" sz="1000" dirty="0" smtClean="0"/>
              <a:t>Sprint team 2</a:t>
            </a:r>
            <a:endParaRPr lang="en-US" sz="1000" dirty="0" smtClean="0"/>
          </a:p>
        </p:txBody>
      </p:sp>
      <p:sp>
        <p:nvSpPr>
          <p:cNvPr id="48" name="TextBox 47"/>
          <p:cNvSpPr txBox="1"/>
          <p:nvPr/>
        </p:nvSpPr>
        <p:spPr>
          <a:xfrm>
            <a:off x="5361590" y="5425047"/>
            <a:ext cx="3390524" cy="246222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sv-SE" sz="1000" dirty="0" smtClean="0"/>
              <a:t>Sprint team 3</a:t>
            </a:r>
            <a:endParaRPr lang="en-US" sz="1000" dirty="0" smtClean="0"/>
          </a:p>
        </p:txBody>
      </p:sp>
      <p:sp>
        <p:nvSpPr>
          <p:cNvPr id="51" name="TextBox 50"/>
          <p:cNvSpPr txBox="1"/>
          <p:nvPr/>
        </p:nvSpPr>
        <p:spPr>
          <a:xfrm>
            <a:off x="6921082" y="4655146"/>
            <a:ext cx="2382925" cy="246221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sv-SE" sz="1000" dirty="0" smtClean="0"/>
              <a:t>Sprint team 1</a:t>
            </a:r>
            <a:endParaRPr lang="en-US" sz="1000" dirty="0" smtClean="0"/>
          </a:p>
        </p:txBody>
      </p:sp>
      <p:sp>
        <p:nvSpPr>
          <p:cNvPr id="52" name="TextBox 51"/>
          <p:cNvSpPr txBox="1"/>
          <p:nvPr/>
        </p:nvSpPr>
        <p:spPr>
          <a:xfrm>
            <a:off x="7718682" y="5053767"/>
            <a:ext cx="2382925" cy="246221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sv-SE" sz="1000" dirty="0" smtClean="0"/>
              <a:t>Sprint team 2</a:t>
            </a:r>
            <a:endParaRPr lang="en-US" sz="1000" dirty="0" smtClean="0"/>
          </a:p>
        </p:txBody>
      </p:sp>
      <p:sp>
        <p:nvSpPr>
          <p:cNvPr id="43" name="TextBox 42"/>
          <p:cNvSpPr txBox="1"/>
          <p:nvPr/>
        </p:nvSpPr>
        <p:spPr>
          <a:xfrm>
            <a:off x="2970697" y="5823664"/>
            <a:ext cx="3154852" cy="246225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sv-SE" sz="1000" dirty="0" smtClean="0"/>
              <a:t>Sprint team 4</a:t>
            </a:r>
            <a:endParaRPr lang="en-US" sz="1000" dirty="0" smtClean="0"/>
          </a:p>
        </p:txBody>
      </p:sp>
    </p:spTree>
    <p:extLst>
      <p:ext uri="{BB962C8B-B14F-4D97-AF65-F5344CB8AC3E}">
        <p14:creationId xmlns:p14="http://schemas.microsoft.com/office/powerpoint/2010/main" val="213778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29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Volvo Group Telematic Products</a:t>
            </a:r>
          </a:p>
        </p:txBody>
      </p:sp>
      <p:sp>
        <p:nvSpPr>
          <p:cNvPr id="7229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1976" y="1605933"/>
            <a:ext cx="8229600" cy="4133056"/>
          </a:xfrm>
        </p:spPr>
        <p:txBody>
          <a:bodyPr>
            <a:normAutofit fontScale="92500" lnSpcReduction="20000"/>
          </a:bodyPr>
          <a:lstStyle/>
          <a:p>
            <a:endParaRPr lang="sv-SE" dirty="0"/>
          </a:p>
          <a:p>
            <a:endParaRPr lang="sv-SE" dirty="0"/>
          </a:p>
          <a:p>
            <a:endParaRPr lang="sv-SE" dirty="0"/>
          </a:p>
          <a:p>
            <a:pPr>
              <a:buFont typeface="Symbol" pitchFamily="18" charset="2"/>
              <a:buNone/>
            </a:pPr>
            <a:r>
              <a:rPr lang="en-US" dirty="0"/>
              <a:t>Develop on-board software for the fleet management systems:</a:t>
            </a:r>
            <a:r>
              <a:rPr lang="sv-SE" dirty="0"/>
              <a:t> </a:t>
            </a:r>
          </a:p>
          <a:p>
            <a:r>
              <a:rPr lang="sv-SE" dirty="0"/>
              <a:t>Dynafleet, Volvo Trucks Europe</a:t>
            </a:r>
          </a:p>
          <a:p>
            <a:r>
              <a:rPr lang="sv-SE" dirty="0"/>
              <a:t>Optifleet, Renault Trucks Europe</a:t>
            </a:r>
          </a:p>
          <a:p>
            <a:r>
              <a:rPr lang="sv-SE" dirty="0"/>
              <a:t>Volvo Link, Volvo Trucks North </a:t>
            </a:r>
            <a:r>
              <a:rPr lang="sv-SE" dirty="0" smtClean="0"/>
              <a:t>America</a:t>
            </a:r>
          </a:p>
          <a:p>
            <a:r>
              <a:rPr lang="sv-SE" dirty="0" smtClean="0"/>
              <a:t>AVT, Volvo Trucks Asia</a:t>
            </a:r>
          </a:p>
          <a:p>
            <a:r>
              <a:rPr lang="sv-SE" dirty="0" smtClean="0"/>
              <a:t>UDIS, Volvo Trucks Japan</a:t>
            </a:r>
            <a:endParaRPr lang="sv-SE" dirty="0"/>
          </a:p>
          <a:p>
            <a:endParaRPr lang="sv-SE" dirty="0"/>
          </a:p>
        </p:txBody>
      </p:sp>
      <p:pic>
        <p:nvPicPr>
          <p:cNvPr id="722949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250" y="1412875"/>
            <a:ext cx="4762500" cy="133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55896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24680" y="1306286"/>
            <a:ext cx="4438910" cy="4692011"/>
          </a:xfrm>
        </p:spPr>
        <p:txBody>
          <a:bodyPr>
            <a:normAutofit fontScale="92500" lnSpcReduction="20000"/>
          </a:bodyPr>
          <a:lstStyle/>
          <a:p>
            <a:pPr lvl="1"/>
            <a:r>
              <a:rPr lang="en-GB" dirty="0"/>
              <a:t>Rhapsody</a:t>
            </a:r>
          </a:p>
          <a:p>
            <a:pPr lvl="1"/>
            <a:r>
              <a:rPr lang="en-GB" dirty="0"/>
              <a:t> C++,</a:t>
            </a:r>
          </a:p>
          <a:p>
            <a:pPr lvl="1"/>
            <a:r>
              <a:rPr lang="en-GB" dirty="0" err="1"/>
              <a:t>ClearCase</a:t>
            </a:r>
            <a:r>
              <a:rPr lang="en-GB" dirty="0"/>
              <a:t> </a:t>
            </a:r>
            <a:r>
              <a:rPr lang="en-GB" dirty="0" smtClean="0"/>
              <a:t>and GIT</a:t>
            </a:r>
            <a:endParaRPr lang="en-GB" dirty="0"/>
          </a:p>
          <a:p>
            <a:pPr lvl="1"/>
            <a:r>
              <a:rPr lang="en-GB" dirty="0" smtClean="0"/>
              <a:t>Jira</a:t>
            </a:r>
            <a:endParaRPr lang="en-GB" dirty="0"/>
          </a:p>
          <a:p>
            <a:pPr lvl="1"/>
            <a:r>
              <a:rPr lang="en-GB" dirty="0" err="1" smtClean="0"/>
              <a:t>Caliber</a:t>
            </a:r>
            <a:r>
              <a:rPr lang="en-GB" dirty="0" smtClean="0"/>
              <a:t> </a:t>
            </a:r>
          </a:p>
          <a:p>
            <a:pPr lvl="1"/>
            <a:r>
              <a:rPr lang="en-GB" dirty="0" smtClean="0"/>
              <a:t>SE-tool</a:t>
            </a:r>
            <a:endParaRPr lang="en-GB" dirty="0"/>
          </a:p>
          <a:p>
            <a:pPr lvl="1"/>
            <a:r>
              <a:rPr lang="en-GB" dirty="0" err="1" smtClean="0"/>
              <a:t>Lauterbach</a:t>
            </a:r>
            <a:r>
              <a:rPr lang="en-GB" dirty="0" smtClean="0"/>
              <a:t>, Lint, </a:t>
            </a:r>
            <a:r>
              <a:rPr lang="en-GB" dirty="0" err="1" smtClean="0"/>
              <a:t>Klocwork</a:t>
            </a:r>
            <a:r>
              <a:rPr lang="en-GB" dirty="0" smtClean="0"/>
              <a:t> (2016)</a:t>
            </a:r>
            <a:endParaRPr lang="en-GB" dirty="0"/>
          </a:p>
          <a:p>
            <a:pPr lvl="1"/>
            <a:r>
              <a:rPr lang="en-GB" dirty="0" err="1" smtClean="0"/>
              <a:t>CANoe</a:t>
            </a:r>
            <a:endParaRPr lang="en-GB" dirty="0" smtClean="0"/>
          </a:p>
          <a:p>
            <a:pPr lvl="1"/>
            <a:r>
              <a:rPr lang="en-GB" dirty="0" smtClean="0"/>
              <a:t>Jenkins</a:t>
            </a:r>
          </a:p>
          <a:p>
            <a:pPr lvl="1"/>
            <a:r>
              <a:rPr lang="en-GB" dirty="0" smtClean="0"/>
              <a:t>Visual Studio</a:t>
            </a:r>
          </a:p>
          <a:p>
            <a:pPr lvl="1"/>
            <a:endParaRPr lang="en-GB" dirty="0"/>
          </a:p>
          <a:p>
            <a:endParaRPr lang="sv-S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0E9AD42-C178-4DDF-86C3-EDC77BEDCFC5}" type="slidenum">
              <a:rPr lang="en-US" noProof="0" smtClean="0"/>
              <a:pPr/>
              <a:t>18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Development </a:t>
            </a:r>
            <a:r>
              <a:rPr lang="sv-SE" dirty="0" smtClean="0"/>
              <a:t>tools</a:t>
            </a:r>
            <a:endParaRPr lang="sv-SE" dirty="0"/>
          </a:p>
        </p:txBody>
      </p:sp>
      <p:sp>
        <p:nvSpPr>
          <p:cNvPr id="8" name="Content Placeholder 1"/>
          <p:cNvSpPr txBox="1">
            <a:spLocks/>
          </p:cNvSpPr>
          <p:nvPr/>
        </p:nvSpPr>
        <p:spPr>
          <a:xfrm>
            <a:off x="4352394" y="1319348"/>
            <a:ext cx="4438910" cy="46920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5425" indent="-225425" algn="l" defTabSz="914400" rtl="0" eaLnBrk="1" latinLnBrk="0" hangingPunct="1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 lang="en-US"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03238" indent="-250825" algn="l" defTabSz="914400" rtl="0" eaLnBrk="1" latinLnBrk="0" hangingPunct="1">
              <a:spcBef>
                <a:spcPts val="1800"/>
              </a:spcBef>
              <a:buClr>
                <a:schemeClr val="tx2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728663" indent="-211138" algn="l" defTabSz="914400" rtl="0" eaLnBrk="1" latinLnBrk="0" hangingPunct="1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 lang="en-US"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81075" indent="-239713" algn="l" defTabSz="914400" rtl="0" eaLnBrk="1" latinLnBrk="0" hangingPunct="1">
              <a:spcBef>
                <a:spcPts val="1800"/>
              </a:spcBef>
              <a:buClr>
                <a:schemeClr val="tx2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219200" indent="-225425" algn="l" defTabSz="914400" rtl="0" eaLnBrk="1" latinLnBrk="0" hangingPunct="1">
              <a:spcBef>
                <a:spcPts val="1800"/>
              </a:spcBef>
              <a:buClr>
                <a:schemeClr val="tx2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GB" dirty="0" smtClean="0"/>
              <a:t>Eclipse (Android </a:t>
            </a:r>
            <a:r>
              <a:rPr lang="en-GB" dirty="0" err="1" smtClean="0"/>
              <a:t>dev</a:t>
            </a:r>
            <a:r>
              <a:rPr lang="en-GB" dirty="0" smtClean="0"/>
              <a:t>)</a:t>
            </a:r>
          </a:p>
          <a:p>
            <a:pPr lvl="1"/>
            <a:r>
              <a:rPr lang="en-GB" dirty="0" smtClean="0"/>
              <a:t> Robot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813064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2229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Onboard SW Architecture – GTAG4</a:t>
            </a:r>
          </a:p>
        </p:txBody>
      </p:sp>
      <p:sp>
        <p:nvSpPr>
          <p:cNvPr id="692231" name="Text Box 7"/>
          <p:cNvSpPr txBox="1">
            <a:spLocks noChangeArrowheads="1"/>
          </p:cNvSpPr>
          <p:nvPr/>
        </p:nvSpPr>
        <p:spPr bwMode="auto">
          <a:xfrm>
            <a:off x="7286625" y="1988840"/>
            <a:ext cx="1512167" cy="1325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/>
          <a:p>
            <a:r>
              <a:rPr lang="sv-SE" sz="1600" b="1" dirty="0"/>
              <a:t>GTAG4</a:t>
            </a:r>
            <a:r>
              <a:rPr lang="sv-SE" sz="1600" dirty="0"/>
              <a:t> – Global Telematic Architecture generation </a:t>
            </a:r>
            <a:r>
              <a:rPr lang="sv-SE" sz="1600" dirty="0" smtClean="0"/>
              <a:t>4</a:t>
            </a:r>
            <a:endParaRPr lang="sv-SE" sz="1600" dirty="0"/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sv-SE"/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38047632"/>
              </p:ext>
            </p:extLst>
          </p:nvPr>
        </p:nvGraphicFramePr>
        <p:xfrm>
          <a:off x="381000" y="1143000"/>
          <a:ext cx="6858000" cy="48748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" name="Visio" r:id="rId3" imgW="9418892" imgH="6694551" progId="Visio.Drawing.11">
                  <p:embed/>
                </p:oleObj>
              </mc:Choice>
              <mc:Fallback>
                <p:oleObj name="Visio" r:id="rId3" imgW="9418892" imgH="6694551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1000" y="1143000"/>
                        <a:ext cx="6858000" cy="487483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42526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Mission</a:t>
            </a:r>
            <a:endParaRPr lang="sv-S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A48B6B9-208B-4632-BEF9-204970A2537F}" type="slidenum">
              <a:rPr lang="en-US" noProof="0" smtClean="0"/>
              <a:pPr/>
              <a:t>2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7" name="TextBox 6"/>
          <p:cNvSpPr txBox="1"/>
          <p:nvPr/>
        </p:nvSpPr>
        <p:spPr>
          <a:xfrm>
            <a:off x="509745" y="1999155"/>
            <a:ext cx="3894005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To </a:t>
            </a:r>
            <a:r>
              <a:rPr lang="en-US" sz="1600" dirty="0"/>
              <a:t>propose and develop </a:t>
            </a:r>
            <a:r>
              <a:rPr lang="en-US" sz="1600" dirty="0" smtClean="0"/>
              <a:t>innovative, scalable and profitable on-board </a:t>
            </a:r>
            <a:r>
              <a:rPr lang="en-US" sz="1600" dirty="0"/>
              <a:t>telematics solutions based on common architecture and shared </a:t>
            </a:r>
            <a:r>
              <a:rPr lang="en-US" sz="1600" dirty="0" smtClean="0"/>
              <a:t>technology</a:t>
            </a:r>
          </a:p>
          <a:p>
            <a:endParaRPr lang="en-US" sz="1600" dirty="0" smtClean="0"/>
          </a:p>
          <a:p>
            <a:r>
              <a:rPr lang="en-US" sz="1600" dirty="0" smtClean="0"/>
              <a:t>To support the growing soft products business with telematics domain expertise, engaged people and global co-operation for efficient deliveries  </a:t>
            </a:r>
          </a:p>
          <a:p>
            <a:endParaRPr lang="en-US" sz="1600" dirty="0" smtClean="0"/>
          </a:p>
          <a:p>
            <a:endParaRPr lang="en-US" sz="1600" dirty="0" smtClean="0"/>
          </a:p>
          <a:p>
            <a:endParaRPr lang="sv-SE" sz="1600" dirty="0"/>
          </a:p>
          <a:p>
            <a:endParaRPr lang="sv-SE" sz="1600" dirty="0" smtClean="0"/>
          </a:p>
          <a:p>
            <a:endParaRPr lang="sv-SE" sz="1600" dirty="0" smtClean="0"/>
          </a:p>
        </p:txBody>
      </p:sp>
      <p:grpSp>
        <p:nvGrpSpPr>
          <p:cNvPr id="9" name="Group 8"/>
          <p:cNvGrpSpPr/>
          <p:nvPr/>
        </p:nvGrpSpPr>
        <p:grpSpPr>
          <a:xfrm>
            <a:off x="5018017" y="1685218"/>
            <a:ext cx="3199524" cy="2973119"/>
            <a:chOff x="5018017" y="1685218"/>
            <a:chExt cx="3199524" cy="2973119"/>
          </a:xfrm>
        </p:grpSpPr>
        <p:grpSp>
          <p:nvGrpSpPr>
            <p:cNvPr id="13" name="Group 12"/>
            <p:cNvGrpSpPr/>
            <p:nvPr/>
          </p:nvGrpSpPr>
          <p:grpSpPr>
            <a:xfrm>
              <a:off x="5411386" y="1685218"/>
              <a:ext cx="2413936" cy="2627838"/>
              <a:chOff x="5411386" y="1685218"/>
              <a:chExt cx="2413936" cy="2627838"/>
            </a:xfrm>
          </p:grpSpPr>
          <p:pic>
            <p:nvPicPr>
              <p:cNvPr id="6" name="Picture 11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11386" y="2070202"/>
                <a:ext cx="2413936" cy="224285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8" name="TextBox 7">
                <a:hlinkClick r:id="rId3" action="ppaction://hlinksldjump"/>
              </p:cNvPr>
              <p:cNvSpPr txBox="1"/>
              <p:nvPr/>
            </p:nvSpPr>
            <p:spPr>
              <a:xfrm>
                <a:off x="6049127" y="1685218"/>
                <a:ext cx="1138453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sv-SE" sz="2000" b="1" dirty="0" smtClean="0">
                    <a:solidFill>
                      <a:schemeClr val="accent1">
                        <a:lumMod val="75000"/>
                      </a:schemeClr>
                    </a:solidFill>
                    <a:effectLst>
                      <a:outerShdw blurRad="50800" dist="50800" dir="5400000" algn="ctr" rotWithShape="0">
                        <a:schemeClr val="accent4"/>
                      </a:outerShdw>
                    </a:effectLst>
                  </a:rPr>
                  <a:t>Mission</a:t>
                </a:r>
              </a:p>
            </p:txBody>
          </p:sp>
        </p:grpSp>
        <p:sp>
          <p:nvSpPr>
            <p:cNvPr id="14" name="TextBox 13">
              <a:hlinkClick r:id="rId4" action="ppaction://hlinksldjump"/>
            </p:cNvPr>
            <p:cNvSpPr txBox="1"/>
            <p:nvPr/>
          </p:nvSpPr>
          <p:spPr>
            <a:xfrm>
              <a:off x="5742954" y="4258227"/>
              <a:ext cx="175080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sz="2000" b="1" dirty="0" smtClean="0">
                  <a:solidFill>
                    <a:schemeClr val="accent1">
                      <a:lumMod val="75000"/>
                    </a:schemeClr>
                  </a:solidFill>
                  <a:effectLst>
                    <a:outerShdw blurRad="50800" dist="50800" dir="5400000" algn="ctr" rotWithShape="0">
                      <a:schemeClr val="accent4"/>
                    </a:outerShdw>
                  </a:effectLst>
                </a:rPr>
                <a:t>Organization</a:t>
              </a:r>
            </a:p>
          </p:txBody>
        </p:sp>
        <p:sp>
          <p:nvSpPr>
            <p:cNvPr id="15" name="TextBox 14">
              <a:hlinkClick r:id="rId5" action="ppaction://hlinksldjump"/>
            </p:cNvPr>
            <p:cNvSpPr txBox="1"/>
            <p:nvPr/>
          </p:nvSpPr>
          <p:spPr>
            <a:xfrm rot="5400000">
              <a:off x="7504364" y="2991574"/>
              <a:ext cx="102624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sz="2000" b="1" dirty="0" smtClean="0">
                  <a:solidFill>
                    <a:schemeClr val="accent1">
                      <a:lumMod val="75000"/>
                    </a:schemeClr>
                  </a:solidFill>
                  <a:effectLst>
                    <a:outerShdw blurRad="50800" dist="50800" dir="5400000" algn="ctr" rotWithShape="0">
                      <a:schemeClr val="accent4"/>
                    </a:outerShdw>
                  </a:effectLst>
                </a:rPr>
                <a:t>People</a:t>
              </a:r>
            </a:p>
          </p:txBody>
        </p:sp>
        <p:sp>
          <p:nvSpPr>
            <p:cNvPr id="16" name="TextBox 15">
              <a:hlinkClick r:id="rId5" action="ppaction://hlinksldjump"/>
            </p:cNvPr>
            <p:cNvSpPr txBox="1"/>
            <p:nvPr/>
          </p:nvSpPr>
          <p:spPr>
            <a:xfrm rot="16200000">
              <a:off x="4640830" y="2991573"/>
              <a:ext cx="115448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sz="2000" b="1" dirty="0" smtClean="0">
                  <a:solidFill>
                    <a:schemeClr val="accent1">
                      <a:lumMod val="75000"/>
                    </a:schemeClr>
                  </a:solidFill>
                  <a:effectLst>
                    <a:outerShdw blurRad="50800" dist="50800" dir="5400000" algn="ctr" rotWithShape="0">
                      <a:schemeClr val="accent4"/>
                    </a:outerShdw>
                  </a:effectLst>
                </a:rPr>
                <a:t>Produc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94333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258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9144000" cy="614203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240579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/>
              <a:t>Volvo Group Organization</a:t>
            </a:r>
            <a:endParaRPr lang="en-US" dirty="0"/>
          </a:p>
        </p:txBody>
      </p:sp>
      <p:sp>
        <p:nvSpPr>
          <p:cNvPr id="40" name="Footer Placeholder 2"/>
          <p:cNvSpPr>
            <a:spLocks noGrp="1"/>
          </p:cNvSpPr>
          <p:nvPr>
            <p:ph type="ftr" sz="quarter" idx="10"/>
            <p:custDataLst>
              <p:tags r:id="rId5"/>
            </p:custDataLst>
          </p:nvPr>
        </p:nvSpPr>
        <p:spPr>
          <a:xfrm>
            <a:off x="339725" y="6426200"/>
            <a:ext cx="6873875" cy="215900"/>
          </a:xfrm>
        </p:spPr>
        <p:txBody>
          <a:bodyPr/>
          <a:lstStyle/>
          <a:p>
            <a:r>
              <a:rPr lang="en-US" noProof="0" smtClean="0"/>
              <a:t>Media relations &amp; Corporate reputation</a:t>
            </a:r>
            <a:endParaRPr lang="en-US" noProof="0" dirty="0"/>
          </a:p>
        </p:txBody>
      </p:sp>
      <p:sp>
        <p:nvSpPr>
          <p:cNvPr id="41" name="Slide Number Placeholder 3"/>
          <p:cNvSpPr>
            <a:spLocks noGrp="1"/>
          </p:cNvSpPr>
          <p:nvPr>
            <p:ph type="sldNum" sz="quarter" idx="11"/>
            <p:custDataLst>
              <p:tags r:id="rId6"/>
            </p:custDataLst>
          </p:nvPr>
        </p:nvSpPr>
        <p:spPr>
          <a:xfrm>
            <a:off x="339725" y="6619875"/>
            <a:ext cx="503238" cy="207963"/>
          </a:xfrm>
        </p:spPr>
        <p:txBody>
          <a:bodyPr/>
          <a:lstStyle/>
          <a:p>
            <a:fld id="{40E9AD42-C178-4DDF-86C3-EDC77BEDCFC5}" type="slidenum">
              <a:rPr lang="en-US" noProof="0" smtClean="0"/>
              <a:pPr/>
              <a:t>3</a:t>
            </a:fld>
            <a:endParaRPr lang="en-US" noProof="0" dirty="0"/>
          </a:p>
        </p:txBody>
      </p:sp>
      <p:sp>
        <p:nvSpPr>
          <p:cNvPr id="42" name="Date Placeholder 4"/>
          <p:cNvSpPr>
            <a:spLocks noGrp="1"/>
          </p:cNvSpPr>
          <p:nvPr>
            <p:ph type="dt" sz="half" idx="12"/>
            <p:custDataLst>
              <p:tags r:id="rId7"/>
            </p:custDataLst>
          </p:nvPr>
        </p:nvSpPr>
        <p:spPr>
          <a:xfrm>
            <a:off x="623888" y="6618288"/>
            <a:ext cx="2405062" cy="209550"/>
          </a:xfrm>
        </p:spPr>
        <p:txBody>
          <a:bodyPr/>
          <a:lstStyle/>
          <a:p>
            <a:r>
              <a:rPr lang="sv-SE" noProof="0" smtClean="0"/>
              <a:t>2015</a:t>
            </a:r>
            <a:endParaRPr lang="en-US" noProof="0" dirty="0"/>
          </a:p>
        </p:txBody>
      </p:sp>
      <p:grpSp>
        <p:nvGrpSpPr>
          <p:cNvPr id="21" name="Group 20"/>
          <p:cNvGrpSpPr/>
          <p:nvPr/>
        </p:nvGrpSpPr>
        <p:grpSpPr>
          <a:xfrm>
            <a:off x="1957221" y="3719559"/>
            <a:ext cx="5215956" cy="970167"/>
            <a:chOff x="1968240" y="3719559"/>
            <a:chExt cx="5215956" cy="970167"/>
          </a:xfrm>
        </p:grpSpPr>
        <p:sp>
          <p:nvSpPr>
            <p:cNvPr id="49" name="Rectangle 48"/>
            <p:cNvSpPr/>
            <p:nvPr>
              <p:custDataLst>
                <p:tags r:id="rId16"/>
              </p:custDataLst>
            </p:nvPr>
          </p:nvSpPr>
          <p:spPr>
            <a:xfrm>
              <a:off x="1968240" y="3719559"/>
              <a:ext cx="1626666" cy="970167"/>
            </a:xfrm>
            <a:prstGeom prst="rect">
              <a:avLst/>
            </a:prstGeom>
            <a:solidFill>
              <a:schemeClr val="tx2"/>
            </a:solidFill>
            <a:ln w="19050"/>
            <a:effectLst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400" b="1" dirty="0" smtClean="0">
                  <a:solidFill>
                    <a:schemeClr val="bg1"/>
                  </a:solidFill>
                </a:rPr>
                <a:t>Construction Equipment</a:t>
              </a:r>
              <a:endParaRPr lang="sv-SE" sz="1400" dirty="0">
                <a:solidFill>
                  <a:schemeClr val="bg1"/>
                </a:solidFill>
              </a:endParaRPr>
            </a:p>
          </p:txBody>
        </p:sp>
        <p:sp>
          <p:nvSpPr>
            <p:cNvPr id="52" name="Rectangle 51"/>
            <p:cNvSpPr/>
            <p:nvPr>
              <p:custDataLst>
                <p:tags r:id="rId17"/>
              </p:custDataLst>
            </p:nvPr>
          </p:nvSpPr>
          <p:spPr>
            <a:xfrm>
              <a:off x="5557530" y="3719559"/>
              <a:ext cx="1626666" cy="970167"/>
            </a:xfrm>
            <a:prstGeom prst="rect">
              <a:avLst/>
            </a:prstGeom>
            <a:solidFill>
              <a:schemeClr val="tx2"/>
            </a:solidFill>
            <a:ln w="19050"/>
            <a:effectLst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400" b="1" dirty="0" smtClean="0">
                  <a:solidFill>
                    <a:schemeClr val="bg1"/>
                  </a:solidFill>
                </a:rPr>
                <a:t>Volvo Financial Services</a:t>
              </a:r>
              <a:endParaRPr lang="sv-SE" sz="1400" dirty="0">
                <a:solidFill>
                  <a:schemeClr val="bg1"/>
                </a:solidFill>
              </a:endParaRPr>
            </a:p>
          </p:txBody>
        </p:sp>
        <p:sp>
          <p:nvSpPr>
            <p:cNvPr id="53" name="Rectangle 52"/>
            <p:cNvSpPr/>
            <p:nvPr>
              <p:custDataLst>
                <p:tags r:id="rId18"/>
              </p:custDataLst>
            </p:nvPr>
          </p:nvSpPr>
          <p:spPr>
            <a:xfrm>
              <a:off x="3762885" y="3719559"/>
              <a:ext cx="1626666" cy="970167"/>
            </a:xfrm>
            <a:prstGeom prst="rect">
              <a:avLst/>
            </a:prstGeom>
            <a:solidFill>
              <a:schemeClr val="tx2"/>
            </a:solidFill>
            <a:ln w="19050"/>
            <a:effectLst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400" b="1" dirty="0" smtClean="0">
                  <a:solidFill>
                    <a:schemeClr val="bg1"/>
                  </a:solidFill>
                </a:rPr>
                <a:t>Business </a:t>
              </a:r>
              <a:br>
                <a:rPr lang="sv-SE" sz="1400" b="1" dirty="0" smtClean="0">
                  <a:solidFill>
                    <a:schemeClr val="bg1"/>
                  </a:solidFill>
                </a:rPr>
              </a:br>
              <a:r>
                <a:rPr lang="sv-SE" sz="1400" b="1" dirty="0" smtClean="0">
                  <a:solidFill>
                    <a:schemeClr val="bg1"/>
                  </a:solidFill>
                </a:rPr>
                <a:t>Areas</a:t>
              </a:r>
              <a:endParaRPr lang="sv-SE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43" name="Rectangle 42"/>
          <p:cNvSpPr/>
          <p:nvPr>
            <p:custDataLst>
              <p:tags r:id="rId8"/>
            </p:custDataLst>
          </p:nvPr>
        </p:nvSpPr>
        <p:spPr>
          <a:xfrm>
            <a:off x="289784" y="2405109"/>
            <a:ext cx="2736000" cy="970167"/>
          </a:xfrm>
          <a:prstGeom prst="rect">
            <a:avLst/>
          </a:prstGeom>
          <a:solidFill>
            <a:schemeClr val="tx2"/>
          </a:solidFill>
          <a:ln w="19050"/>
          <a:effectLst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b="1" dirty="0">
                <a:solidFill>
                  <a:schemeClr val="bg1"/>
                </a:solidFill>
              </a:rPr>
              <a:t>Group Trucks </a:t>
            </a:r>
            <a:r>
              <a:rPr lang="en-US" sz="1400" b="1" dirty="0" smtClean="0">
                <a:solidFill>
                  <a:schemeClr val="bg1"/>
                </a:solidFill>
              </a:rPr>
              <a:t>Sales 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6" name="Rectangle 45"/>
          <p:cNvSpPr/>
          <p:nvPr>
            <p:custDataLst>
              <p:tags r:id="rId9"/>
            </p:custDataLst>
          </p:nvPr>
        </p:nvSpPr>
        <p:spPr>
          <a:xfrm>
            <a:off x="3197200" y="2405109"/>
            <a:ext cx="2736000" cy="970167"/>
          </a:xfrm>
          <a:prstGeom prst="rect">
            <a:avLst/>
          </a:prstGeom>
          <a:solidFill>
            <a:schemeClr val="tx2"/>
          </a:solidFill>
          <a:ln w="19050"/>
          <a:effectLst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b="1" dirty="0">
                <a:solidFill>
                  <a:schemeClr val="bg1"/>
                </a:solidFill>
              </a:rPr>
              <a:t>Group Trucks </a:t>
            </a:r>
            <a:r>
              <a:rPr lang="sv-SE" sz="1400" b="1" dirty="0" smtClean="0">
                <a:solidFill>
                  <a:schemeClr val="bg1"/>
                </a:solidFill>
              </a:rPr>
              <a:t>Operations</a:t>
            </a:r>
            <a:endParaRPr lang="sv-SE" sz="1400" dirty="0">
              <a:solidFill>
                <a:schemeClr val="bg1"/>
              </a:solidFill>
            </a:endParaRPr>
          </a:p>
        </p:txBody>
      </p:sp>
      <p:sp>
        <p:nvSpPr>
          <p:cNvPr id="47" name="Rectangle 46"/>
          <p:cNvSpPr/>
          <p:nvPr>
            <p:custDataLst>
              <p:tags r:id="rId10"/>
            </p:custDataLst>
          </p:nvPr>
        </p:nvSpPr>
        <p:spPr>
          <a:xfrm>
            <a:off x="6104615" y="2405109"/>
            <a:ext cx="2736000" cy="970167"/>
          </a:xfrm>
          <a:prstGeom prst="rect">
            <a:avLst/>
          </a:prstGeom>
          <a:solidFill>
            <a:schemeClr val="tx2"/>
          </a:solidFill>
          <a:ln w="19050"/>
          <a:effectLst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b="1" dirty="0">
                <a:solidFill>
                  <a:schemeClr val="bg1"/>
                </a:solidFill>
              </a:rPr>
              <a:t>Group Trucks </a:t>
            </a:r>
            <a:r>
              <a:rPr lang="sv-SE" sz="1400" b="1" dirty="0" smtClean="0">
                <a:solidFill>
                  <a:schemeClr val="bg1"/>
                </a:solidFill>
              </a:rPr>
              <a:t>Technology</a:t>
            </a:r>
            <a:endParaRPr lang="sv-SE" sz="1400" dirty="0">
              <a:solidFill>
                <a:schemeClr val="bg1"/>
              </a:solidFill>
            </a:endParaRPr>
          </a:p>
        </p:txBody>
      </p:sp>
      <p:pic>
        <p:nvPicPr>
          <p:cNvPr id="32" name="Bildobjekt 95" descr="penta.gif"/>
          <p:cNvPicPr>
            <a:picLocks noChangeAspect="1"/>
          </p:cNvPicPr>
          <p:nvPr/>
        </p:nvPicPr>
        <p:blipFill>
          <a:blip r:embed="rId24" cstate="email"/>
          <a:stretch>
            <a:fillRect/>
          </a:stretch>
        </p:blipFill>
        <p:spPr>
          <a:xfrm flipH="1">
            <a:off x="4937853" y="4518904"/>
            <a:ext cx="615544" cy="630837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5126" y="4094924"/>
            <a:ext cx="1094633" cy="931448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41876" y="4332372"/>
            <a:ext cx="1495977" cy="817369"/>
          </a:xfrm>
          <a:prstGeom prst="rect">
            <a:avLst/>
          </a:prstGeom>
        </p:spPr>
      </p:pic>
      <p:grpSp>
        <p:nvGrpSpPr>
          <p:cNvPr id="33" name="Group 32"/>
          <p:cNvGrpSpPr/>
          <p:nvPr/>
        </p:nvGrpSpPr>
        <p:grpSpPr>
          <a:xfrm>
            <a:off x="1657784" y="2164114"/>
            <a:ext cx="5821181" cy="248547"/>
            <a:chOff x="1657784" y="2164114"/>
            <a:chExt cx="5821181" cy="248547"/>
          </a:xfrm>
        </p:grpSpPr>
        <p:cxnSp>
          <p:nvCxnSpPr>
            <p:cNvPr id="25" name="Straight Connector 24"/>
            <p:cNvCxnSpPr/>
            <p:nvPr/>
          </p:nvCxnSpPr>
          <p:spPr>
            <a:xfrm>
              <a:off x="1657784" y="2164114"/>
              <a:ext cx="5821181" cy="0"/>
            </a:xfrm>
            <a:prstGeom prst="line">
              <a:avLst/>
            </a:prstGeom>
            <a:ln w="19050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4565199" y="2164114"/>
              <a:ext cx="1" cy="248547"/>
            </a:xfrm>
            <a:prstGeom prst="line">
              <a:avLst/>
            </a:prstGeom>
            <a:ln w="19050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7465058" y="2164114"/>
              <a:ext cx="6350" cy="233438"/>
            </a:xfrm>
            <a:prstGeom prst="line">
              <a:avLst/>
            </a:prstGeom>
            <a:ln w="19050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>
              <a:off x="1665340" y="2164114"/>
              <a:ext cx="1" cy="248547"/>
            </a:xfrm>
            <a:prstGeom prst="line">
              <a:avLst/>
            </a:prstGeom>
            <a:ln w="19050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oup 29"/>
          <p:cNvGrpSpPr/>
          <p:nvPr/>
        </p:nvGrpSpPr>
        <p:grpSpPr>
          <a:xfrm>
            <a:off x="-3939" y="1653976"/>
            <a:ext cx="3274486" cy="1020276"/>
            <a:chOff x="109416" y="717944"/>
            <a:chExt cx="3274486" cy="1020276"/>
          </a:xfrm>
        </p:grpSpPr>
        <p:pic>
          <p:nvPicPr>
            <p:cNvPr id="17" name="Picture 16"/>
            <p:cNvPicPr>
              <a:picLocks noChangeAspect="1"/>
            </p:cNvPicPr>
            <p:nvPr>
              <p:custDataLst>
                <p:tags r:id="rId11"/>
              </p:custDataLst>
            </p:nvPr>
          </p:nvPicPr>
          <p:blipFill>
            <a:blip r:embed="rId2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33621" y="792462"/>
              <a:ext cx="868863" cy="841022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>
              <p:custDataLst>
                <p:tags r:id="rId12"/>
              </p:custDataLst>
            </p:nvPr>
          </p:nvPicPr>
          <p:blipFill>
            <a:blip r:embed="rId2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9482" y="791821"/>
              <a:ext cx="873952" cy="758590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>
              <p:custDataLst>
                <p:tags r:id="rId13"/>
              </p:custDataLst>
            </p:nvPr>
          </p:nvPicPr>
          <p:blipFill>
            <a:blip r:embed="rId2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80912" y="890693"/>
              <a:ext cx="969073" cy="75034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>
              <p:custDataLst>
                <p:tags r:id="rId14"/>
              </p:custDataLst>
            </p:nvPr>
          </p:nvPicPr>
          <p:blipFill>
            <a:blip r:embed="rId3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9416" y="717944"/>
              <a:ext cx="1137213" cy="1020276"/>
            </a:xfrm>
            <a:prstGeom prst="rect">
              <a:avLst/>
            </a:prstGeom>
          </p:spPr>
        </p:pic>
        <p:pic>
          <p:nvPicPr>
            <p:cNvPr id="13" name="Picture 12"/>
            <p:cNvPicPr>
              <a:picLocks noChangeAspect="1"/>
            </p:cNvPicPr>
            <p:nvPr>
              <p:custDataLst>
                <p:tags r:id="rId15"/>
              </p:custDataLst>
            </p:nvPr>
          </p:nvPicPr>
          <p:blipFill>
            <a:blip r:embed="rId3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70952" y="934952"/>
              <a:ext cx="1212950" cy="7981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75471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A48B6B9-208B-4632-BEF9-204970A2537F}" type="slidenum">
              <a:rPr lang="en-US" noProof="0" smtClean="0"/>
              <a:pPr/>
              <a:t>4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6" name="Title 5"/>
          <p:cNvSpPr txBox="1">
            <a:spLocks/>
          </p:cNvSpPr>
          <p:nvPr/>
        </p:nvSpPr>
        <p:spPr>
          <a:xfrm>
            <a:off x="252868" y="407315"/>
            <a:ext cx="8229600" cy="58151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3200" b="1" kern="120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sv-SE" dirty="0" smtClean="0"/>
              <a:t>Group Truck Technology</a:t>
            </a:r>
            <a:endParaRPr lang="sv-SE" dirty="0"/>
          </a:p>
        </p:txBody>
      </p:sp>
      <p:cxnSp>
        <p:nvCxnSpPr>
          <p:cNvPr id="7" name="Straight Connector 6"/>
          <p:cNvCxnSpPr/>
          <p:nvPr/>
        </p:nvCxnSpPr>
        <p:spPr>
          <a:xfrm flipH="1">
            <a:off x="3909662" y="1874027"/>
            <a:ext cx="0" cy="2463102"/>
          </a:xfrm>
          <a:prstGeom prst="line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1736863" y="3960194"/>
            <a:ext cx="4329962" cy="6836"/>
          </a:xfrm>
          <a:prstGeom prst="line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24"/>
          <p:cNvGrpSpPr>
            <a:grpSpLocks/>
          </p:cNvGrpSpPr>
          <p:nvPr/>
        </p:nvGrpSpPr>
        <p:grpSpPr bwMode="auto">
          <a:xfrm>
            <a:off x="2730992" y="1519024"/>
            <a:ext cx="2353026" cy="497556"/>
            <a:chOff x="3347533" y="1343600"/>
            <a:chExt cx="2037288" cy="532614"/>
          </a:xfrm>
        </p:grpSpPr>
        <p:sp>
          <p:nvSpPr>
            <p:cNvPr id="10" name="Rectangle 9"/>
            <p:cNvSpPr/>
            <p:nvPr/>
          </p:nvSpPr>
          <p:spPr>
            <a:xfrm>
              <a:off x="3347533" y="1343600"/>
              <a:ext cx="2037288" cy="532614"/>
            </a:xfrm>
            <a:prstGeom prst="rect">
              <a:avLst/>
            </a:prstGeom>
            <a:solidFill>
              <a:srgbClr val="EBECEB"/>
            </a:solidFill>
            <a:ln w="9525">
              <a:solidFill>
                <a:srgbClr val="B1B0B1"/>
              </a:solidFill>
            </a:ln>
            <a:effectLst>
              <a:outerShdw blurRad="50800" dist="38100" dir="2700000" sx="99000" sy="99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2800"/>
            <a:lstStyle/>
            <a:p>
              <a:pPr algn="ctr">
                <a:lnSpc>
                  <a:spcPts val="1100"/>
                </a:lnSpc>
                <a:spcBef>
                  <a:spcPts val="400"/>
                </a:spcBef>
                <a:defRPr/>
              </a:pPr>
              <a:r>
                <a:rPr lang="en-US" sz="1000" dirty="0">
                  <a:solidFill>
                    <a:srgbClr val="000000"/>
                  </a:solidFill>
                </a:rPr>
                <a:t>Group Trucks Technology</a:t>
              </a:r>
            </a:p>
            <a:p>
              <a:pPr algn="ctr">
                <a:lnSpc>
                  <a:spcPts val="1100"/>
                </a:lnSpc>
                <a:spcBef>
                  <a:spcPts val="400"/>
                </a:spcBef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1" name="Rectangle 26"/>
            <p:cNvSpPr>
              <a:spLocks noChangeArrowheads="1"/>
            </p:cNvSpPr>
            <p:nvPr/>
          </p:nvSpPr>
          <p:spPr bwMode="auto">
            <a:xfrm>
              <a:off x="3356994" y="1615043"/>
              <a:ext cx="2016788" cy="2498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>
                <a:lnSpc>
                  <a:spcPts val="1100"/>
                </a:lnSpc>
                <a:spcBef>
                  <a:spcPts val="400"/>
                </a:spcBef>
                <a:defRPr/>
              </a:pPr>
              <a:r>
                <a:rPr lang="en-US" sz="1000" dirty="0" smtClean="0">
                  <a:solidFill>
                    <a:srgbClr val="616161"/>
                  </a:solidFill>
                </a:rPr>
                <a:t>Torbjörn </a:t>
              </a:r>
              <a:r>
                <a:rPr lang="en-US" sz="1000" dirty="0">
                  <a:solidFill>
                    <a:srgbClr val="616161"/>
                  </a:solidFill>
                </a:rPr>
                <a:t>Holmström</a:t>
              </a:r>
            </a:p>
          </p:txBody>
        </p:sp>
      </p:grpSp>
      <p:sp>
        <p:nvSpPr>
          <p:cNvPr id="12" name="Rectangle 11"/>
          <p:cNvSpPr/>
          <p:nvPr/>
        </p:nvSpPr>
        <p:spPr bwMode="auto">
          <a:xfrm>
            <a:off x="2265683" y="2755368"/>
            <a:ext cx="1507407" cy="404079"/>
          </a:xfrm>
          <a:prstGeom prst="rect">
            <a:avLst/>
          </a:prstGeom>
          <a:solidFill>
            <a:srgbClr val="EBECEB"/>
          </a:solidFill>
          <a:ln w="9525">
            <a:solidFill>
              <a:srgbClr val="B1B0B1"/>
            </a:solidFill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/>
          <a:lstStyle/>
          <a:p>
            <a:pPr algn="ctr">
              <a:lnSpc>
                <a:spcPts val="1100"/>
              </a:lnSpc>
              <a:spcBef>
                <a:spcPts val="400"/>
              </a:spcBef>
              <a:defRPr/>
            </a:pPr>
            <a:r>
              <a:rPr lang="en-GB" sz="1000" dirty="0">
                <a:solidFill>
                  <a:srgbClr val="000000"/>
                </a:solidFill>
              </a:rPr>
              <a:t>Communication</a:t>
            </a:r>
          </a:p>
          <a:p>
            <a:pPr algn="ctr">
              <a:lnSpc>
                <a:spcPts val="1100"/>
              </a:lnSpc>
              <a:spcBef>
                <a:spcPts val="400"/>
              </a:spcBef>
              <a:defRPr/>
            </a:pPr>
            <a:r>
              <a:rPr lang="en-US" sz="1000" dirty="0">
                <a:solidFill>
                  <a:srgbClr val="616161"/>
                </a:solidFill>
              </a:rPr>
              <a:t>Sara Jönsson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2254335" y="3280338"/>
            <a:ext cx="1507407" cy="404079"/>
          </a:xfrm>
          <a:prstGeom prst="rect">
            <a:avLst/>
          </a:prstGeom>
          <a:solidFill>
            <a:srgbClr val="EBECEB"/>
          </a:solidFill>
          <a:ln w="12700">
            <a:solidFill>
              <a:schemeClr val="bg1">
                <a:lumMod val="65000"/>
              </a:schemeClr>
            </a:solidFill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/>
          <a:lstStyle/>
          <a:p>
            <a:pPr algn="ctr">
              <a:lnSpc>
                <a:spcPts val="1100"/>
              </a:lnSpc>
              <a:spcBef>
                <a:spcPts val="400"/>
              </a:spcBef>
              <a:defRPr/>
            </a:pPr>
            <a:r>
              <a:rPr lang="en-GB" altLang="ja-JP" sz="1000" dirty="0">
                <a:solidFill>
                  <a:srgbClr val="000000"/>
                </a:solidFill>
              </a:rPr>
              <a:t>Process and IT</a:t>
            </a:r>
          </a:p>
          <a:p>
            <a:pPr algn="ctr">
              <a:lnSpc>
                <a:spcPts val="1100"/>
              </a:lnSpc>
              <a:defRPr/>
            </a:pPr>
            <a:r>
              <a:rPr lang="en-US" sz="1000" dirty="0">
                <a:solidFill>
                  <a:srgbClr val="616161"/>
                </a:solidFill>
              </a:rPr>
              <a:t>Anders Ydergård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2264074" y="2233141"/>
            <a:ext cx="1507407" cy="404079"/>
          </a:xfrm>
          <a:prstGeom prst="rect">
            <a:avLst/>
          </a:prstGeom>
          <a:solidFill>
            <a:srgbClr val="EBECEB"/>
          </a:solidFill>
          <a:ln w="9525">
            <a:solidFill>
              <a:srgbClr val="B1B0B1"/>
            </a:solidFill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/>
          <a:lstStyle/>
          <a:p>
            <a:pPr algn="ctr">
              <a:lnSpc>
                <a:spcPts val="1100"/>
              </a:lnSpc>
              <a:spcBef>
                <a:spcPts val="400"/>
              </a:spcBef>
              <a:defRPr/>
            </a:pPr>
            <a:r>
              <a:rPr lang="en-US" sz="1000" dirty="0">
                <a:solidFill>
                  <a:srgbClr val="000000"/>
                </a:solidFill>
              </a:rPr>
              <a:t>HR</a:t>
            </a:r>
          </a:p>
          <a:p>
            <a:pPr algn="ctr">
              <a:lnSpc>
                <a:spcPts val="1100"/>
              </a:lnSpc>
              <a:defRPr/>
            </a:pPr>
            <a:r>
              <a:rPr lang="en-US" sz="1000" dirty="0">
                <a:solidFill>
                  <a:srgbClr val="616161"/>
                </a:solidFill>
              </a:rPr>
              <a:t>Agneta Bonna</a:t>
            </a:r>
          </a:p>
        </p:txBody>
      </p:sp>
      <p:cxnSp>
        <p:nvCxnSpPr>
          <p:cNvPr id="15" name="Straight Connector 14"/>
          <p:cNvCxnSpPr>
            <a:endCxn id="13" idx="3"/>
          </p:cNvCxnSpPr>
          <p:nvPr/>
        </p:nvCxnSpPr>
        <p:spPr bwMode="auto">
          <a:xfrm flipH="1">
            <a:off x="3761741" y="3482378"/>
            <a:ext cx="157045" cy="0"/>
          </a:xfrm>
          <a:prstGeom prst="line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 bwMode="auto">
          <a:xfrm>
            <a:off x="4051514" y="2231565"/>
            <a:ext cx="1507407" cy="404079"/>
          </a:xfrm>
          <a:prstGeom prst="rect">
            <a:avLst/>
          </a:prstGeom>
          <a:solidFill>
            <a:srgbClr val="EBECEB"/>
          </a:solidFill>
          <a:ln w="9525">
            <a:solidFill>
              <a:srgbClr val="B1B0B1"/>
            </a:solidFill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/>
          <a:lstStyle/>
          <a:p>
            <a:pPr algn="ctr">
              <a:lnSpc>
                <a:spcPts val="1100"/>
              </a:lnSpc>
              <a:spcBef>
                <a:spcPts val="400"/>
              </a:spcBef>
            </a:pPr>
            <a:r>
              <a:rPr lang="en-US" sz="1000" dirty="0">
                <a:solidFill>
                  <a:srgbClr val="000000"/>
                </a:solidFill>
              </a:rPr>
              <a:t>Controlling &amp; Strategy</a:t>
            </a:r>
          </a:p>
          <a:p>
            <a:pPr algn="ctr">
              <a:lnSpc>
                <a:spcPts val="1100"/>
              </a:lnSpc>
              <a:defRPr/>
            </a:pPr>
            <a:r>
              <a:rPr lang="sv-SE" sz="1000" dirty="0">
                <a:solidFill>
                  <a:srgbClr val="616161"/>
                </a:solidFill>
              </a:rPr>
              <a:t>Anders Häger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497427" y="4158068"/>
            <a:ext cx="992223" cy="839241"/>
          </a:xfrm>
          <a:prstGeom prst="rect">
            <a:avLst/>
          </a:prstGeom>
          <a:solidFill>
            <a:srgbClr val="EBECEB"/>
          </a:solidFill>
          <a:ln w="9525">
            <a:solidFill>
              <a:srgbClr val="B1B0B1"/>
            </a:solidFill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/>
          <a:lstStyle/>
          <a:p>
            <a:pPr algn="ctr"/>
            <a:r>
              <a:rPr lang="en-GB" sz="1000" dirty="0">
                <a:solidFill>
                  <a:srgbClr val="000000"/>
                </a:solidFill>
              </a:rPr>
              <a:t>Vehicle</a:t>
            </a:r>
          </a:p>
          <a:p>
            <a:pPr algn="ctr"/>
            <a:r>
              <a:rPr lang="en-GB" sz="1000" dirty="0">
                <a:solidFill>
                  <a:srgbClr val="000000"/>
                </a:solidFill>
              </a:rPr>
              <a:t>Engineering</a:t>
            </a:r>
          </a:p>
          <a:p>
            <a:pPr algn="ctr"/>
            <a:endParaRPr lang="en-US" sz="900" dirty="0">
              <a:solidFill>
                <a:srgbClr val="000000"/>
              </a:solidFill>
              <a:ea typeface="MS PGothic" pitchFamily="34" charset="-128"/>
              <a:cs typeface="Arial" charset="0"/>
            </a:endParaRPr>
          </a:p>
          <a:p>
            <a:pPr algn="ctr">
              <a:lnSpc>
                <a:spcPts val="1100"/>
              </a:lnSpc>
              <a:defRPr/>
            </a:pPr>
            <a:r>
              <a:rPr lang="en-US" sz="1000" dirty="0">
                <a:solidFill>
                  <a:srgbClr val="616161"/>
                </a:solidFill>
              </a:rPr>
              <a:t>Anders Hellman</a:t>
            </a:r>
          </a:p>
          <a:p>
            <a:pPr algn="ctr">
              <a:lnSpc>
                <a:spcPts val="1100"/>
              </a:lnSpc>
              <a:defRPr/>
            </a:pPr>
            <a:endParaRPr lang="en-US" sz="1000" dirty="0">
              <a:solidFill>
                <a:srgbClr val="61616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5585306" y="4158068"/>
            <a:ext cx="992223" cy="839241"/>
          </a:xfrm>
          <a:prstGeom prst="rect">
            <a:avLst/>
          </a:prstGeom>
          <a:solidFill>
            <a:srgbClr val="EBECEB"/>
          </a:solidFill>
          <a:ln w="9525">
            <a:solidFill>
              <a:srgbClr val="B1B0B1"/>
            </a:solidFill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/>
          <a:lstStyle/>
          <a:p>
            <a:pPr algn="ctr">
              <a:lnSpc>
                <a:spcPts val="1100"/>
              </a:lnSpc>
              <a:spcBef>
                <a:spcPts val="400"/>
              </a:spcBef>
              <a:defRPr/>
            </a:pPr>
            <a:r>
              <a:rPr lang="en-GB" altLang="ja-JP" sz="1000" dirty="0">
                <a:solidFill>
                  <a:srgbClr val="000000"/>
                </a:solidFill>
              </a:rPr>
              <a:t>Quality &amp;</a:t>
            </a:r>
          </a:p>
          <a:p>
            <a:pPr algn="ctr">
              <a:lnSpc>
                <a:spcPts val="1100"/>
              </a:lnSpc>
              <a:defRPr/>
            </a:pPr>
            <a:r>
              <a:rPr lang="en-GB" altLang="ja-JP" sz="1000" dirty="0">
                <a:solidFill>
                  <a:srgbClr val="000000"/>
                </a:solidFill>
              </a:rPr>
              <a:t>Customer Satisfaction</a:t>
            </a:r>
          </a:p>
          <a:p>
            <a:pPr algn="ctr">
              <a:lnSpc>
                <a:spcPts val="1100"/>
              </a:lnSpc>
              <a:spcBef>
                <a:spcPts val="400"/>
              </a:spcBef>
              <a:defRPr/>
            </a:pPr>
            <a:r>
              <a:rPr lang="sv-SE" sz="1000" dirty="0">
                <a:solidFill>
                  <a:srgbClr val="616161"/>
                </a:solidFill>
              </a:rPr>
              <a:t>Sven Wallström</a:t>
            </a:r>
          </a:p>
        </p:txBody>
      </p:sp>
      <p:cxnSp>
        <p:nvCxnSpPr>
          <p:cNvPr id="19" name="Straight Connector 18"/>
          <p:cNvCxnSpPr/>
          <p:nvPr/>
        </p:nvCxnSpPr>
        <p:spPr>
          <a:xfrm flipH="1">
            <a:off x="4991918" y="3960194"/>
            <a:ext cx="1621" cy="187281"/>
          </a:xfrm>
          <a:prstGeom prst="line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066825" y="3960194"/>
            <a:ext cx="0" cy="185041"/>
          </a:xfrm>
          <a:prstGeom prst="line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3409549" y="4158068"/>
            <a:ext cx="992223" cy="839241"/>
          </a:xfrm>
          <a:prstGeom prst="rect">
            <a:avLst/>
          </a:prstGeom>
          <a:solidFill>
            <a:srgbClr val="EBECEB"/>
          </a:solidFill>
          <a:ln w="9525">
            <a:solidFill>
              <a:srgbClr val="B1B0B1"/>
            </a:solidFill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/>
          <a:lstStyle/>
          <a:p>
            <a:pPr algn="ctr">
              <a:defRPr/>
            </a:pPr>
            <a:r>
              <a:rPr lang="en-GB" sz="1000" dirty="0">
                <a:solidFill>
                  <a:srgbClr val="000000"/>
                </a:solidFill>
              </a:rPr>
              <a:t>Powertrain</a:t>
            </a:r>
          </a:p>
          <a:p>
            <a:pPr algn="ctr">
              <a:defRPr/>
            </a:pPr>
            <a:r>
              <a:rPr lang="en-GB" sz="1000" dirty="0">
                <a:solidFill>
                  <a:srgbClr val="000000"/>
                </a:solidFill>
              </a:rPr>
              <a:t>Engineering</a:t>
            </a:r>
          </a:p>
          <a:p>
            <a:pPr algn="ctr">
              <a:lnSpc>
                <a:spcPts val="1100"/>
              </a:lnSpc>
              <a:defRPr/>
            </a:pPr>
            <a:endParaRPr lang="en-US" sz="900" dirty="0">
              <a:solidFill>
                <a:srgbClr val="000000"/>
              </a:solidFill>
            </a:endParaRPr>
          </a:p>
          <a:p>
            <a:pPr algn="ctr">
              <a:lnSpc>
                <a:spcPts val="1100"/>
              </a:lnSpc>
              <a:defRPr/>
            </a:pPr>
            <a:r>
              <a:rPr lang="en-US" sz="1000" dirty="0">
                <a:solidFill>
                  <a:srgbClr val="616161"/>
                </a:solidFill>
              </a:rPr>
              <a:t>Jan </a:t>
            </a:r>
            <a:r>
              <a:rPr lang="en-US" sz="1000" dirty="0" smtClean="0">
                <a:solidFill>
                  <a:srgbClr val="616161"/>
                </a:solidFill>
              </a:rPr>
              <a:t>Hjelmgren</a:t>
            </a:r>
            <a:endParaRPr lang="en-US" sz="1000" dirty="0">
              <a:solidFill>
                <a:srgbClr val="61616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342747" y="4158068"/>
            <a:ext cx="993844" cy="839241"/>
          </a:xfrm>
          <a:prstGeom prst="rect">
            <a:avLst/>
          </a:prstGeom>
          <a:solidFill>
            <a:srgbClr val="EBECEB"/>
          </a:solidFill>
          <a:ln w="9525">
            <a:solidFill>
              <a:srgbClr val="B1B0B1"/>
            </a:solidFill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/>
          <a:lstStyle/>
          <a:p>
            <a:pPr algn="ctr"/>
            <a:r>
              <a:rPr lang="en-GB" sz="1000" dirty="0">
                <a:solidFill>
                  <a:srgbClr val="000000"/>
                </a:solidFill>
              </a:rPr>
              <a:t>Complete</a:t>
            </a:r>
          </a:p>
          <a:p>
            <a:pPr algn="ctr"/>
            <a:r>
              <a:rPr lang="en-GB" sz="1000" dirty="0">
                <a:solidFill>
                  <a:srgbClr val="000000"/>
                </a:solidFill>
              </a:rPr>
              <a:t>Vehicle</a:t>
            </a:r>
          </a:p>
          <a:p>
            <a:pPr algn="ctr"/>
            <a:endParaRPr lang="en-US" sz="900" dirty="0">
              <a:solidFill>
                <a:srgbClr val="000000"/>
              </a:solidFill>
              <a:ea typeface="MS PGothic" pitchFamily="34" charset="-128"/>
              <a:cs typeface="Arial" charset="0"/>
            </a:endParaRPr>
          </a:p>
          <a:p>
            <a:pPr algn="ctr">
              <a:lnSpc>
                <a:spcPts val="1100"/>
              </a:lnSpc>
              <a:defRPr/>
            </a:pPr>
            <a:r>
              <a:rPr lang="en-US" sz="1000" dirty="0">
                <a:solidFill>
                  <a:srgbClr val="616161"/>
                </a:solidFill>
              </a:rPr>
              <a:t>Christophe Lora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239149" y="4158068"/>
            <a:ext cx="993844" cy="8392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rgbClr val="B1B0B1"/>
            </a:solidFill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/>
          <a:lstStyle/>
          <a:p>
            <a:pPr algn="ctr"/>
            <a:r>
              <a:rPr lang="en-GB" sz="1000" dirty="0">
                <a:solidFill>
                  <a:srgbClr val="000000"/>
                </a:solidFill>
              </a:rPr>
              <a:t>Technology  Product Project</a:t>
            </a:r>
          </a:p>
          <a:p>
            <a:pPr algn="ctr"/>
            <a:endParaRPr lang="en-US" sz="900" dirty="0">
              <a:solidFill>
                <a:srgbClr val="000000"/>
              </a:solidFill>
              <a:ea typeface="MS PGothic" pitchFamily="34" charset="-128"/>
              <a:cs typeface="Arial" charset="0"/>
            </a:endParaRPr>
          </a:p>
          <a:p>
            <a:pPr algn="ctr">
              <a:lnSpc>
                <a:spcPts val="1100"/>
              </a:lnSpc>
              <a:defRPr/>
            </a:pPr>
            <a:r>
              <a:rPr lang="en-US" sz="1000" dirty="0">
                <a:solidFill>
                  <a:srgbClr val="616161"/>
                </a:solidFill>
              </a:rPr>
              <a:t>Christian Cellier</a:t>
            </a:r>
          </a:p>
        </p:txBody>
      </p:sp>
      <p:cxnSp>
        <p:nvCxnSpPr>
          <p:cNvPr id="24" name="Straight Connector 23"/>
          <p:cNvCxnSpPr/>
          <p:nvPr/>
        </p:nvCxnSpPr>
        <p:spPr>
          <a:xfrm flipH="1">
            <a:off x="2853400" y="3965285"/>
            <a:ext cx="1621" cy="187281"/>
          </a:xfrm>
          <a:prstGeom prst="line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1736070" y="3960194"/>
            <a:ext cx="794" cy="200953"/>
          </a:xfrm>
          <a:prstGeom prst="line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endCxn id="14" idx="3"/>
          </p:cNvCxnSpPr>
          <p:nvPr/>
        </p:nvCxnSpPr>
        <p:spPr bwMode="auto">
          <a:xfrm flipH="1" flipV="1">
            <a:off x="3771481" y="2435181"/>
            <a:ext cx="135112" cy="1"/>
          </a:xfrm>
          <a:prstGeom prst="line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>
            <a:stCxn id="16" idx="1"/>
          </p:cNvCxnSpPr>
          <p:nvPr/>
        </p:nvCxnSpPr>
        <p:spPr bwMode="auto">
          <a:xfrm flipH="1">
            <a:off x="3773090" y="2433605"/>
            <a:ext cx="278424" cy="1"/>
          </a:xfrm>
          <a:prstGeom prst="line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368309" y="880747"/>
            <a:ext cx="2666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000000"/>
                </a:solidFill>
              </a:rPr>
              <a:t>Valid from January 1, 2015</a:t>
            </a:r>
          </a:p>
        </p:txBody>
      </p:sp>
      <p:cxnSp>
        <p:nvCxnSpPr>
          <p:cNvPr id="29" name="Straight Connector 28"/>
          <p:cNvCxnSpPr/>
          <p:nvPr/>
        </p:nvCxnSpPr>
        <p:spPr bwMode="auto">
          <a:xfrm flipH="1" flipV="1">
            <a:off x="5102719" y="1779791"/>
            <a:ext cx="291600" cy="1"/>
          </a:xfrm>
          <a:prstGeom prst="line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 bwMode="auto">
          <a:xfrm>
            <a:off x="5357053" y="1517205"/>
            <a:ext cx="1328400" cy="499374"/>
          </a:xfrm>
          <a:prstGeom prst="rect">
            <a:avLst/>
          </a:prstGeom>
          <a:solidFill>
            <a:srgbClr val="EBECEB"/>
          </a:solidFill>
          <a:ln w="9525">
            <a:solidFill>
              <a:srgbClr val="B1B0B1"/>
            </a:solidFill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2800"/>
          <a:lstStyle/>
          <a:p>
            <a:pPr algn="ctr">
              <a:lnSpc>
                <a:spcPts val="1100"/>
              </a:lnSpc>
              <a:spcBef>
                <a:spcPts val="400"/>
              </a:spcBef>
              <a:defRPr/>
            </a:pPr>
            <a:r>
              <a:rPr lang="en-US" sz="1000" dirty="0">
                <a:solidFill>
                  <a:srgbClr val="000000"/>
                </a:solidFill>
              </a:rPr>
              <a:t>Executive Assistant</a:t>
            </a:r>
          </a:p>
        </p:txBody>
      </p:sp>
      <p:sp>
        <p:nvSpPr>
          <p:cNvPr id="31" name="Rectangle 30"/>
          <p:cNvSpPr/>
          <p:nvPr/>
        </p:nvSpPr>
        <p:spPr bwMode="auto">
          <a:xfrm>
            <a:off x="5350573" y="1779791"/>
            <a:ext cx="1334880" cy="23339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ts val="1100"/>
              </a:lnSpc>
              <a:spcBef>
                <a:spcPts val="400"/>
              </a:spcBef>
              <a:defRPr/>
            </a:pPr>
            <a:r>
              <a:rPr lang="en-US" sz="1000" dirty="0">
                <a:solidFill>
                  <a:srgbClr val="616161"/>
                </a:solidFill>
              </a:rPr>
              <a:t>Louise Albert</a:t>
            </a:r>
          </a:p>
        </p:txBody>
      </p:sp>
      <p:sp>
        <p:nvSpPr>
          <p:cNvPr id="32" name="Rectangle 31"/>
          <p:cNvSpPr/>
          <p:nvPr/>
        </p:nvSpPr>
        <p:spPr bwMode="auto">
          <a:xfrm>
            <a:off x="4051514" y="2756535"/>
            <a:ext cx="1507407" cy="404079"/>
          </a:xfrm>
          <a:prstGeom prst="rect">
            <a:avLst/>
          </a:prstGeom>
          <a:solidFill>
            <a:srgbClr val="EBECEB"/>
          </a:solidFill>
          <a:ln w="9525">
            <a:solidFill>
              <a:srgbClr val="B1B0B1"/>
            </a:solidFill>
          </a:ln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/>
          <a:lstStyle/>
          <a:p>
            <a:pPr algn="ctr">
              <a:lnSpc>
                <a:spcPts val="1100"/>
              </a:lnSpc>
              <a:spcBef>
                <a:spcPts val="400"/>
              </a:spcBef>
              <a:defRPr/>
            </a:pPr>
            <a:r>
              <a:rPr lang="en-GB" sz="1000" dirty="0">
                <a:solidFill>
                  <a:srgbClr val="000000"/>
                </a:solidFill>
              </a:rPr>
              <a:t>Legal &amp; Corporate IP</a:t>
            </a:r>
          </a:p>
          <a:p>
            <a:pPr algn="ctr">
              <a:lnSpc>
                <a:spcPts val="1100"/>
              </a:lnSpc>
              <a:defRPr/>
            </a:pPr>
            <a:r>
              <a:rPr lang="en-US" sz="1000" dirty="0">
                <a:solidFill>
                  <a:srgbClr val="616161"/>
                </a:solidFill>
              </a:rPr>
              <a:t>Anna Bjerkelund</a:t>
            </a:r>
          </a:p>
        </p:txBody>
      </p:sp>
      <p:cxnSp>
        <p:nvCxnSpPr>
          <p:cNvPr id="33" name="Straight Connector 32"/>
          <p:cNvCxnSpPr>
            <a:stCxn id="32" idx="1"/>
          </p:cNvCxnSpPr>
          <p:nvPr/>
        </p:nvCxnSpPr>
        <p:spPr bwMode="auto">
          <a:xfrm flipH="1">
            <a:off x="3755364" y="2958575"/>
            <a:ext cx="296150" cy="1"/>
          </a:xfrm>
          <a:prstGeom prst="line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7257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Straight Connector 20"/>
          <p:cNvCxnSpPr/>
          <p:nvPr/>
        </p:nvCxnSpPr>
        <p:spPr>
          <a:xfrm>
            <a:off x="4152398" y="2482450"/>
            <a:ext cx="548241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Mari Hiljemark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0E9AD42-C178-4DDF-86C3-EDC77BEDCFC5}" type="slidenum">
              <a:rPr lang="en-US" noProof="0" smtClean="0"/>
              <a:pPr/>
              <a:t>5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sv-SE" noProof="0" smtClean="0"/>
              <a:t>2015-11-02</a:t>
            </a:r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 OBT Organization </a:t>
            </a:r>
            <a:r>
              <a:rPr lang="sv-SE" dirty="0" smtClean="0"/>
              <a:t>Structure </a:t>
            </a:r>
            <a:endParaRPr lang="sv-SE" dirty="0"/>
          </a:p>
        </p:txBody>
      </p:sp>
      <p:sp>
        <p:nvSpPr>
          <p:cNvPr id="7" name="Rectangle 6"/>
          <p:cNvSpPr/>
          <p:nvPr/>
        </p:nvSpPr>
        <p:spPr>
          <a:xfrm>
            <a:off x="3360717" y="962108"/>
            <a:ext cx="1567543" cy="547526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050" b="1" dirty="0" smtClean="0">
                <a:solidFill>
                  <a:schemeClr val="tx1"/>
                </a:solidFill>
              </a:rPr>
              <a:t>On-board Telematics</a:t>
            </a:r>
          </a:p>
          <a:p>
            <a:pPr algn="ctr"/>
            <a:r>
              <a:rPr lang="sv-SE" sz="1050" dirty="0" smtClean="0">
                <a:solidFill>
                  <a:schemeClr val="tx1"/>
                </a:solidFill>
              </a:rPr>
              <a:t>Mari Hiljemark</a:t>
            </a:r>
          </a:p>
        </p:txBody>
      </p:sp>
      <p:cxnSp>
        <p:nvCxnSpPr>
          <p:cNvPr id="9" name="Straight Connector 8"/>
          <p:cNvCxnSpPr>
            <a:stCxn id="7" idx="2"/>
          </p:cNvCxnSpPr>
          <p:nvPr/>
        </p:nvCxnSpPr>
        <p:spPr>
          <a:xfrm>
            <a:off x="4144489" y="1509634"/>
            <a:ext cx="9900" cy="1809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152398" y="1972778"/>
            <a:ext cx="502729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4700638" y="1741455"/>
            <a:ext cx="1567543" cy="454745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900" b="1" dirty="0" smtClean="0">
                <a:solidFill>
                  <a:schemeClr val="tx1"/>
                </a:solidFill>
              </a:rPr>
              <a:t>Controlling</a:t>
            </a:r>
          </a:p>
          <a:p>
            <a:pPr algn="ctr"/>
            <a:r>
              <a:rPr lang="sv-SE" sz="900" dirty="0" smtClean="0">
                <a:solidFill>
                  <a:schemeClr val="tx1"/>
                </a:solidFill>
              </a:rPr>
              <a:t>André Jawahiri</a:t>
            </a:r>
          </a:p>
        </p:txBody>
      </p:sp>
      <p:sp>
        <p:nvSpPr>
          <p:cNvPr id="14" name="Rectangle 13"/>
          <p:cNvSpPr/>
          <p:nvPr/>
        </p:nvSpPr>
        <p:spPr>
          <a:xfrm>
            <a:off x="2018805" y="1604643"/>
            <a:ext cx="1567543" cy="454745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900" b="1" dirty="0" smtClean="0">
                <a:solidFill>
                  <a:schemeClr val="tx1"/>
                </a:solidFill>
              </a:rPr>
              <a:t>Order office &amp; Project portfolio</a:t>
            </a:r>
          </a:p>
          <a:p>
            <a:pPr algn="ctr"/>
            <a:r>
              <a:rPr lang="sv-SE" sz="900" dirty="0" smtClean="0">
                <a:solidFill>
                  <a:schemeClr val="tx1"/>
                </a:solidFill>
              </a:rPr>
              <a:t>Erik Malmlöf</a:t>
            </a:r>
          </a:p>
        </p:txBody>
      </p:sp>
      <p:cxnSp>
        <p:nvCxnSpPr>
          <p:cNvPr id="16" name="Straight Connector 15"/>
          <p:cNvCxnSpPr/>
          <p:nvPr/>
        </p:nvCxnSpPr>
        <p:spPr>
          <a:xfrm>
            <a:off x="3596248" y="2484425"/>
            <a:ext cx="54824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4700639" y="2262934"/>
            <a:ext cx="1567543" cy="439031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900" b="1" dirty="0" smtClean="0">
                <a:solidFill>
                  <a:schemeClr val="tx1"/>
                </a:solidFill>
              </a:rPr>
              <a:t>Human Resources</a:t>
            </a:r>
          </a:p>
          <a:p>
            <a:pPr algn="ctr"/>
            <a:r>
              <a:rPr lang="sv-SE" sz="900" dirty="0" smtClean="0">
                <a:solidFill>
                  <a:schemeClr val="tx1"/>
                </a:solidFill>
              </a:rPr>
              <a:t>Jenny Hedström</a:t>
            </a:r>
          </a:p>
        </p:txBody>
      </p:sp>
      <p:sp>
        <p:nvSpPr>
          <p:cNvPr id="18" name="Rectangle 17"/>
          <p:cNvSpPr/>
          <p:nvPr/>
        </p:nvSpPr>
        <p:spPr>
          <a:xfrm>
            <a:off x="2028705" y="2116290"/>
            <a:ext cx="1567543" cy="439031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900" b="1" dirty="0" smtClean="0">
                <a:solidFill>
                  <a:schemeClr val="tx1"/>
                </a:solidFill>
              </a:rPr>
              <a:t>Quality &amp; Process Management</a:t>
            </a:r>
          </a:p>
          <a:p>
            <a:pPr algn="ctr"/>
            <a:r>
              <a:rPr lang="sv-SE" sz="900" dirty="0" smtClean="0">
                <a:solidFill>
                  <a:schemeClr val="tx1"/>
                </a:solidFill>
              </a:rPr>
              <a:t>Suresh Varma</a:t>
            </a:r>
          </a:p>
        </p:txBody>
      </p:sp>
      <p:cxnSp>
        <p:nvCxnSpPr>
          <p:cNvPr id="23" name="Straight Connector 22"/>
          <p:cNvCxnSpPr/>
          <p:nvPr/>
        </p:nvCxnSpPr>
        <p:spPr>
          <a:xfrm>
            <a:off x="3606148" y="1968828"/>
            <a:ext cx="54824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1529124" y="3319222"/>
            <a:ext cx="665813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/>
          <p:cNvSpPr/>
          <p:nvPr/>
        </p:nvSpPr>
        <p:spPr>
          <a:xfrm>
            <a:off x="2295614" y="3482471"/>
            <a:ext cx="1275141" cy="62939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050" b="1" dirty="0" smtClean="0">
                <a:solidFill>
                  <a:schemeClr val="tx1"/>
                </a:solidFill>
              </a:rPr>
              <a:t>Platform Technology management</a:t>
            </a:r>
          </a:p>
          <a:p>
            <a:pPr algn="ctr"/>
            <a:r>
              <a:rPr lang="sv-SE" sz="900" dirty="0" smtClean="0">
                <a:solidFill>
                  <a:schemeClr val="tx1"/>
                </a:solidFill>
              </a:rPr>
              <a:t>Niclas Nygren</a:t>
            </a:r>
          </a:p>
        </p:txBody>
      </p:sp>
      <p:sp>
        <p:nvSpPr>
          <p:cNvPr id="29" name="Rectangle 28"/>
          <p:cNvSpPr/>
          <p:nvPr/>
        </p:nvSpPr>
        <p:spPr>
          <a:xfrm>
            <a:off x="3698552" y="3492769"/>
            <a:ext cx="1179140" cy="62939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050" b="1" dirty="0" smtClean="0">
                <a:solidFill>
                  <a:schemeClr val="tx1"/>
                </a:solidFill>
              </a:rPr>
              <a:t>VTC &amp; RT Telematics</a:t>
            </a:r>
          </a:p>
          <a:p>
            <a:pPr algn="ctr"/>
            <a:r>
              <a:rPr lang="sv-SE" sz="900" dirty="0" smtClean="0">
                <a:solidFill>
                  <a:schemeClr val="tx1"/>
                </a:solidFill>
              </a:rPr>
              <a:t>Katrin Karlsson</a:t>
            </a:r>
          </a:p>
        </p:txBody>
      </p:sp>
      <p:sp>
        <p:nvSpPr>
          <p:cNvPr id="30" name="Rectangle 29"/>
          <p:cNvSpPr/>
          <p:nvPr/>
        </p:nvSpPr>
        <p:spPr>
          <a:xfrm>
            <a:off x="4992212" y="3482471"/>
            <a:ext cx="1179140" cy="62939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050" b="1" dirty="0" smtClean="0">
                <a:solidFill>
                  <a:schemeClr val="tx1"/>
                </a:solidFill>
              </a:rPr>
              <a:t>NAT Telematics</a:t>
            </a:r>
          </a:p>
          <a:p>
            <a:pPr algn="ctr"/>
            <a:r>
              <a:rPr lang="sv-SE" sz="900" dirty="0" smtClean="0">
                <a:solidFill>
                  <a:schemeClr val="tx1"/>
                </a:solidFill>
              </a:rPr>
              <a:t>Johan Hultin</a:t>
            </a:r>
          </a:p>
        </p:txBody>
      </p:sp>
      <p:sp>
        <p:nvSpPr>
          <p:cNvPr id="31" name="Rectangle 30"/>
          <p:cNvSpPr/>
          <p:nvPr/>
        </p:nvSpPr>
        <p:spPr>
          <a:xfrm>
            <a:off x="6288126" y="3482471"/>
            <a:ext cx="1179140" cy="62939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050" b="1" dirty="0" smtClean="0">
                <a:solidFill>
                  <a:schemeClr val="tx1"/>
                </a:solidFill>
              </a:rPr>
              <a:t>Value Truck Telematics</a:t>
            </a:r>
          </a:p>
          <a:p>
            <a:pPr algn="ctr"/>
            <a:r>
              <a:rPr lang="sv-SE" sz="900" dirty="0" smtClean="0">
                <a:solidFill>
                  <a:schemeClr val="tx1"/>
                </a:solidFill>
              </a:rPr>
              <a:t>Ravi Gangappa</a:t>
            </a:r>
          </a:p>
        </p:txBody>
      </p:sp>
      <p:sp>
        <p:nvSpPr>
          <p:cNvPr id="32" name="Rectangle 31"/>
          <p:cNvSpPr/>
          <p:nvPr/>
        </p:nvSpPr>
        <p:spPr>
          <a:xfrm>
            <a:off x="7597688" y="3476867"/>
            <a:ext cx="1179140" cy="62939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050" b="1" dirty="0" smtClean="0">
                <a:solidFill>
                  <a:schemeClr val="tx1"/>
                </a:solidFill>
              </a:rPr>
              <a:t>UD Telematics</a:t>
            </a:r>
          </a:p>
          <a:p>
            <a:pPr algn="ctr"/>
            <a:r>
              <a:rPr lang="sv-SE" sz="900" dirty="0" smtClean="0">
                <a:solidFill>
                  <a:schemeClr val="tx1"/>
                </a:solidFill>
              </a:rPr>
              <a:t>Katsuyoshi Komasaki</a:t>
            </a:r>
          </a:p>
        </p:txBody>
      </p:sp>
      <p:cxnSp>
        <p:nvCxnSpPr>
          <p:cNvPr id="34" name="Straight Connector 33"/>
          <p:cNvCxnSpPr>
            <a:stCxn id="28" idx="0"/>
          </p:cNvCxnSpPr>
          <p:nvPr/>
        </p:nvCxnSpPr>
        <p:spPr>
          <a:xfrm flipH="1" flipV="1">
            <a:off x="2933184" y="3319223"/>
            <a:ext cx="1" cy="1632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>
            <a:stCxn id="29" idx="0"/>
          </p:cNvCxnSpPr>
          <p:nvPr/>
        </p:nvCxnSpPr>
        <p:spPr>
          <a:xfrm flipV="1">
            <a:off x="4288122" y="3319223"/>
            <a:ext cx="0" cy="1735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>
            <a:stCxn id="30" idx="0"/>
          </p:cNvCxnSpPr>
          <p:nvPr/>
        </p:nvCxnSpPr>
        <p:spPr>
          <a:xfrm flipV="1">
            <a:off x="5581782" y="3319223"/>
            <a:ext cx="0" cy="1632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>
            <a:stCxn id="31" idx="0"/>
          </p:cNvCxnSpPr>
          <p:nvPr/>
        </p:nvCxnSpPr>
        <p:spPr>
          <a:xfrm flipV="1">
            <a:off x="6877696" y="3319223"/>
            <a:ext cx="0" cy="1632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>
            <a:stCxn id="32" idx="0"/>
          </p:cNvCxnSpPr>
          <p:nvPr/>
        </p:nvCxnSpPr>
        <p:spPr>
          <a:xfrm flipV="1">
            <a:off x="8187258" y="3319223"/>
            <a:ext cx="0" cy="1576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10140" y="4676037"/>
            <a:ext cx="1567543" cy="62939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050" b="1" dirty="0" smtClean="0">
                <a:solidFill>
                  <a:schemeClr val="tx1"/>
                </a:solidFill>
              </a:rPr>
              <a:t>System &amp; Product management</a:t>
            </a:r>
          </a:p>
          <a:p>
            <a:pPr algn="ctr"/>
            <a:r>
              <a:rPr lang="sv-SE" sz="900" dirty="0" smtClean="0">
                <a:solidFill>
                  <a:schemeClr val="tx1"/>
                </a:solidFill>
              </a:rPr>
              <a:t>Karin Denti</a:t>
            </a:r>
          </a:p>
        </p:txBody>
      </p:sp>
      <p:sp>
        <p:nvSpPr>
          <p:cNvPr id="47" name="Rectangle 46"/>
          <p:cNvSpPr/>
          <p:nvPr/>
        </p:nvSpPr>
        <p:spPr>
          <a:xfrm>
            <a:off x="2150573" y="4686335"/>
            <a:ext cx="1567543" cy="62939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050" b="1" dirty="0" smtClean="0">
                <a:solidFill>
                  <a:schemeClr val="tx1"/>
                </a:solidFill>
              </a:rPr>
              <a:t>Telematics SW development</a:t>
            </a:r>
          </a:p>
          <a:p>
            <a:pPr algn="ctr"/>
            <a:r>
              <a:rPr lang="sv-SE" sz="900" dirty="0" smtClean="0">
                <a:solidFill>
                  <a:schemeClr val="tx1"/>
                </a:solidFill>
              </a:rPr>
              <a:t>Rolf Nilsson</a:t>
            </a:r>
          </a:p>
        </p:txBody>
      </p:sp>
      <p:sp>
        <p:nvSpPr>
          <p:cNvPr id="48" name="Rectangle 47"/>
          <p:cNvSpPr/>
          <p:nvPr/>
        </p:nvSpPr>
        <p:spPr>
          <a:xfrm>
            <a:off x="3798957" y="4676037"/>
            <a:ext cx="1567543" cy="62939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050" b="1" dirty="0" smtClean="0">
                <a:solidFill>
                  <a:schemeClr val="tx1"/>
                </a:solidFill>
              </a:rPr>
              <a:t>Telematics verification</a:t>
            </a:r>
          </a:p>
          <a:p>
            <a:pPr algn="ctr"/>
            <a:r>
              <a:rPr lang="sv-SE" sz="900" dirty="0" smtClean="0">
                <a:solidFill>
                  <a:schemeClr val="tx1"/>
                </a:solidFill>
              </a:rPr>
              <a:t>Anders Brokstorp</a:t>
            </a:r>
          </a:p>
        </p:txBody>
      </p:sp>
      <p:cxnSp>
        <p:nvCxnSpPr>
          <p:cNvPr id="49" name="Straight Connector 48"/>
          <p:cNvCxnSpPr>
            <a:stCxn id="46" idx="0"/>
          </p:cNvCxnSpPr>
          <p:nvPr/>
        </p:nvCxnSpPr>
        <p:spPr>
          <a:xfrm flipV="1">
            <a:off x="1293912" y="4512788"/>
            <a:ext cx="0" cy="16324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 flipV="1">
            <a:off x="2929020" y="4512789"/>
            <a:ext cx="0" cy="1735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 flipV="1">
            <a:off x="4582728" y="4498625"/>
            <a:ext cx="0" cy="1632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>
            <a:stCxn id="28" idx="2"/>
          </p:cNvCxnSpPr>
          <p:nvPr/>
        </p:nvCxnSpPr>
        <p:spPr>
          <a:xfrm flipH="1">
            <a:off x="2933184" y="4111863"/>
            <a:ext cx="1" cy="4009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 flipH="1" flipV="1">
            <a:off x="1293913" y="4512788"/>
            <a:ext cx="3288815" cy="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>
            <a:stCxn id="37" idx="3"/>
          </p:cNvCxnSpPr>
          <p:nvPr/>
        </p:nvCxnSpPr>
        <p:spPr>
          <a:xfrm>
            <a:off x="3605531" y="2888202"/>
            <a:ext cx="54885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1871331" y="2618534"/>
            <a:ext cx="1734200" cy="539336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900" b="1" dirty="0" smtClean="0">
                <a:solidFill>
                  <a:schemeClr val="tx1"/>
                </a:solidFill>
              </a:rPr>
              <a:t>Innovation &amp; Partnership Management</a:t>
            </a:r>
          </a:p>
          <a:p>
            <a:pPr algn="ctr"/>
            <a:r>
              <a:rPr lang="sv-SE" sz="900" b="1" dirty="0" smtClean="0">
                <a:solidFill>
                  <a:schemeClr val="tx1"/>
                </a:solidFill>
              </a:rPr>
              <a:t>Acting GTM Entertainment</a:t>
            </a:r>
          </a:p>
          <a:p>
            <a:pPr algn="ctr"/>
            <a:r>
              <a:rPr lang="sv-SE" sz="900" dirty="0" smtClean="0">
                <a:solidFill>
                  <a:schemeClr val="tx1"/>
                </a:solidFill>
              </a:rPr>
              <a:t>Ingmar Bengtsson</a:t>
            </a:r>
          </a:p>
        </p:txBody>
      </p:sp>
      <p:sp>
        <p:nvSpPr>
          <p:cNvPr id="43" name="Rectangle 42"/>
          <p:cNvSpPr/>
          <p:nvPr/>
        </p:nvSpPr>
        <p:spPr>
          <a:xfrm>
            <a:off x="869609" y="3482471"/>
            <a:ext cx="1275141" cy="62939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050" b="1" dirty="0" smtClean="0">
                <a:solidFill>
                  <a:schemeClr val="tx1"/>
                </a:solidFill>
              </a:rPr>
              <a:t>Entertainment Functions &amp; Electronics</a:t>
            </a:r>
          </a:p>
          <a:p>
            <a:pPr algn="ctr"/>
            <a:r>
              <a:rPr lang="sv-SE" sz="900" dirty="0" smtClean="0">
                <a:solidFill>
                  <a:schemeClr val="tx1"/>
                </a:solidFill>
              </a:rPr>
              <a:t>Mikael Räim</a:t>
            </a:r>
          </a:p>
        </p:txBody>
      </p:sp>
      <p:cxnSp>
        <p:nvCxnSpPr>
          <p:cNvPr id="57" name="Straight Connector 56"/>
          <p:cNvCxnSpPr/>
          <p:nvPr/>
        </p:nvCxnSpPr>
        <p:spPr>
          <a:xfrm flipV="1">
            <a:off x="1522005" y="3319223"/>
            <a:ext cx="0" cy="1735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4399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Footer Placeholder 3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sz="1000" smtClean="0"/>
              <a:t>Vehicle Engineering, On-board Telematics, Martin Ulander</a:t>
            </a:r>
            <a:endParaRPr lang="sv-SE" sz="1000" smtClean="0"/>
          </a:p>
        </p:txBody>
      </p:sp>
      <p:sp>
        <p:nvSpPr>
          <p:cNvPr id="21507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A9B7CE74-ABF8-40E2-91FC-F9146120AC33}" type="slidenum">
              <a:rPr lang="sv-SE" sz="1000" smtClean="0"/>
              <a:pPr eaLnBrk="1" hangingPunct="1"/>
              <a:t>6</a:t>
            </a:fld>
            <a:endParaRPr lang="sv-SE" sz="1000" smtClean="0"/>
          </a:p>
        </p:txBody>
      </p:sp>
      <p:sp>
        <p:nvSpPr>
          <p:cNvPr id="21508" name="Date Placeholder 5"/>
          <p:cNvSpPr>
            <a:spLocks noGrp="1"/>
          </p:cNvSpPr>
          <p:nvPr>
            <p:ph type="dt" sz="quarter" idx="12"/>
          </p:nvPr>
        </p:nvSpPr>
        <p:spPr>
          <a:noFill/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sv-SE" sz="1000" smtClean="0"/>
              <a:t>2012-04-16</a:t>
            </a:r>
          </a:p>
        </p:txBody>
      </p:sp>
      <p:sp>
        <p:nvSpPr>
          <p:cNvPr id="21509" name="Rectangle 15"/>
          <p:cNvSpPr>
            <a:spLocks noChangeArrowheads="1"/>
          </p:cNvSpPr>
          <p:nvPr/>
        </p:nvSpPr>
        <p:spPr bwMode="auto">
          <a:xfrm>
            <a:off x="318052" y="1722783"/>
            <a:ext cx="6635197" cy="4094921"/>
          </a:xfrm>
          <a:prstGeom prst="rect">
            <a:avLst/>
          </a:prstGeom>
          <a:ln>
            <a:headEnd/>
            <a:tailEnd/>
          </a:ln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sv-SE"/>
          </a:p>
        </p:txBody>
      </p:sp>
      <p:sp>
        <p:nvSpPr>
          <p:cNvPr id="21510" name="Rectangle 2"/>
          <p:cNvSpPr>
            <a:spLocks noGrp="1" noChangeArrowheads="1"/>
          </p:cNvSpPr>
          <p:nvPr>
            <p:ph type="title"/>
          </p:nvPr>
        </p:nvSpPr>
        <p:spPr>
          <a:xfrm>
            <a:off x="319088" y="442913"/>
            <a:ext cx="8393112" cy="750887"/>
          </a:xfrm>
        </p:spPr>
        <p:txBody>
          <a:bodyPr/>
          <a:lstStyle/>
          <a:p>
            <a:pPr eaLnBrk="1" hangingPunct="1"/>
            <a:r>
              <a:rPr lang="sv-SE" sz="2800" dirty="0" smtClean="0"/>
              <a:t>On-board Telematics organization</a:t>
            </a:r>
            <a:br>
              <a:rPr lang="sv-SE" sz="2800" dirty="0" smtClean="0"/>
            </a:br>
            <a:r>
              <a:rPr lang="sv-SE" sz="2000" dirty="0" smtClean="0"/>
              <a:t>- Truck Brands</a:t>
            </a:r>
            <a:r>
              <a:rPr lang="sv-SE" sz="2800" dirty="0" smtClean="0"/>
              <a:t/>
            </a:r>
            <a:br>
              <a:rPr lang="sv-SE" sz="2800" dirty="0" smtClean="0"/>
            </a:br>
            <a:endParaRPr lang="sv-SE" sz="2000" dirty="0" smtClean="0"/>
          </a:p>
        </p:txBody>
      </p:sp>
      <p:sp>
        <p:nvSpPr>
          <p:cNvPr id="21511" name="Rectangle 13"/>
          <p:cNvSpPr>
            <a:spLocks noGrp="1" noChangeArrowheads="1"/>
          </p:cNvSpPr>
          <p:nvPr>
            <p:ph type="body" idx="1"/>
          </p:nvPr>
        </p:nvSpPr>
        <p:spPr>
          <a:xfrm>
            <a:off x="324680" y="1865241"/>
            <a:ext cx="2073773" cy="784830"/>
          </a:xfrm>
          <a:noFill/>
        </p:spPr>
        <p:txBody>
          <a:bodyPr wrap="none" rtlCol="0">
            <a:spAutoFit/>
          </a:bodyPr>
          <a:lstStyle/>
          <a:p>
            <a:pPr marL="0" indent="0">
              <a:buNone/>
            </a:pPr>
            <a:r>
              <a:rPr lang="sv-SE" sz="1600" dirty="0">
                <a:solidFill>
                  <a:schemeClr val="bg1"/>
                </a:solidFill>
              </a:rPr>
              <a:t>On-board Telematics</a:t>
            </a:r>
          </a:p>
          <a:p>
            <a:pPr marL="0" indent="0">
              <a:buNone/>
            </a:pPr>
            <a:endParaRPr lang="sv-SE" sz="1400" b="1" dirty="0">
              <a:solidFill>
                <a:schemeClr val="accent1">
                  <a:lumMod val="75000"/>
                </a:schemeClr>
              </a:solidFill>
              <a:effectLst>
                <a:outerShdw blurRad="50800" dist="50800" dir="5400000" algn="ctr" rotWithShape="0">
                  <a:schemeClr val="accent4"/>
                </a:outerShdw>
              </a:effectLst>
              <a:latin typeface="+mn-lt"/>
              <a:cs typeface="+mn-cs"/>
            </a:endParaRPr>
          </a:p>
        </p:txBody>
      </p:sp>
      <p:sp>
        <p:nvSpPr>
          <p:cNvPr id="21512" name="Rectangle 3"/>
          <p:cNvSpPr>
            <a:spLocks noChangeArrowheads="1"/>
          </p:cNvSpPr>
          <p:nvPr/>
        </p:nvSpPr>
        <p:spPr bwMode="auto">
          <a:xfrm>
            <a:off x="496238" y="4359964"/>
            <a:ext cx="6156354" cy="1340261"/>
          </a:xfrm>
          <a:prstGeom prst="rect">
            <a:avLst/>
          </a:prstGeom>
          <a:ln>
            <a:headEnd/>
            <a:tailEnd/>
          </a:ln>
          <a:extLst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sv-SE" sz="1600" b="1" dirty="0">
                <a:solidFill>
                  <a:schemeClr val="tx1"/>
                </a:solidFill>
              </a:rPr>
              <a:t>Global Platform </a:t>
            </a:r>
            <a:r>
              <a:rPr lang="sv-SE" sz="1600" b="1" dirty="0" smtClean="0">
                <a:solidFill>
                  <a:schemeClr val="tx1"/>
                </a:solidFill>
              </a:rPr>
              <a:t>&amp; Technology </a:t>
            </a:r>
            <a:r>
              <a:rPr lang="sv-SE" sz="1600" b="1" dirty="0">
                <a:solidFill>
                  <a:schemeClr val="tx1"/>
                </a:solidFill>
              </a:rPr>
              <a:t>Management</a:t>
            </a:r>
          </a:p>
          <a:p>
            <a:pPr algn="ctr"/>
            <a:endParaRPr lang="sv-SE" sz="1600" dirty="0">
              <a:solidFill>
                <a:schemeClr val="tx1"/>
              </a:solidFill>
            </a:endParaRPr>
          </a:p>
          <a:p>
            <a:pPr algn="ctr"/>
            <a:r>
              <a:rPr lang="sv-SE" sz="1600" dirty="0">
                <a:solidFill>
                  <a:schemeClr val="tx1"/>
                </a:solidFill>
              </a:rPr>
              <a:t>GOT</a:t>
            </a:r>
          </a:p>
        </p:txBody>
      </p:sp>
      <p:sp>
        <p:nvSpPr>
          <p:cNvPr id="21513" name="Rectangle 4"/>
          <p:cNvSpPr>
            <a:spLocks noChangeArrowheads="1"/>
          </p:cNvSpPr>
          <p:nvPr/>
        </p:nvSpPr>
        <p:spPr bwMode="auto">
          <a:xfrm>
            <a:off x="2082051" y="2327204"/>
            <a:ext cx="1411941" cy="1870576"/>
          </a:xfrm>
          <a:prstGeom prst="rect">
            <a:avLst/>
          </a:prstGeom>
          <a:solidFill>
            <a:srgbClr val="FFC000"/>
          </a:solidFill>
          <a:ln>
            <a:headEnd/>
            <a:tailEnd/>
          </a:ln>
          <a:ex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sv-SE" sz="1600" b="1" dirty="0">
                <a:solidFill>
                  <a:schemeClr val="tx1"/>
                </a:solidFill>
              </a:rPr>
              <a:t>NAT </a:t>
            </a:r>
          </a:p>
          <a:p>
            <a:pPr algn="ctr"/>
            <a:r>
              <a:rPr lang="sv-SE" sz="1600" b="1" dirty="0">
                <a:solidFill>
                  <a:schemeClr val="tx1"/>
                </a:solidFill>
              </a:rPr>
              <a:t>Telematics</a:t>
            </a:r>
          </a:p>
          <a:p>
            <a:pPr algn="ctr"/>
            <a:endParaRPr lang="sv-SE" sz="1600" dirty="0">
              <a:solidFill>
                <a:schemeClr val="tx1"/>
              </a:solidFill>
            </a:endParaRPr>
          </a:p>
          <a:p>
            <a:pPr algn="ctr"/>
            <a:r>
              <a:rPr lang="sv-SE" sz="1600" dirty="0">
                <a:solidFill>
                  <a:schemeClr val="tx1"/>
                </a:solidFill>
              </a:rPr>
              <a:t>GSO</a:t>
            </a:r>
          </a:p>
        </p:txBody>
      </p:sp>
      <p:sp>
        <p:nvSpPr>
          <p:cNvPr id="21514" name="Rectangle 5"/>
          <p:cNvSpPr>
            <a:spLocks noChangeArrowheads="1"/>
          </p:cNvSpPr>
          <p:nvPr/>
        </p:nvSpPr>
        <p:spPr bwMode="auto">
          <a:xfrm>
            <a:off x="3655190" y="2322088"/>
            <a:ext cx="1411941" cy="1870577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sv-SE" sz="1600" b="1" dirty="0">
                <a:solidFill>
                  <a:schemeClr val="tx1"/>
                </a:solidFill>
              </a:rPr>
              <a:t>UD </a:t>
            </a:r>
          </a:p>
          <a:p>
            <a:pPr algn="ctr"/>
            <a:r>
              <a:rPr lang="sv-SE" sz="1600" b="1" dirty="0">
                <a:solidFill>
                  <a:schemeClr val="tx1"/>
                </a:solidFill>
              </a:rPr>
              <a:t>Telematics</a:t>
            </a:r>
          </a:p>
          <a:p>
            <a:pPr algn="ctr"/>
            <a:endParaRPr lang="sv-SE" sz="1600" dirty="0">
              <a:solidFill>
                <a:schemeClr val="tx1"/>
              </a:solidFill>
            </a:endParaRPr>
          </a:p>
          <a:p>
            <a:pPr algn="ctr"/>
            <a:r>
              <a:rPr lang="sv-SE" sz="1600" dirty="0">
                <a:solidFill>
                  <a:schemeClr val="tx1"/>
                </a:solidFill>
              </a:rPr>
              <a:t>Ageo</a:t>
            </a:r>
          </a:p>
        </p:txBody>
      </p:sp>
      <p:sp>
        <p:nvSpPr>
          <p:cNvPr id="21515" name="Rectangle 6"/>
          <p:cNvSpPr>
            <a:spLocks noChangeArrowheads="1"/>
          </p:cNvSpPr>
          <p:nvPr/>
        </p:nvSpPr>
        <p:spPr bwMode="auto">
          <a:xfrm>
            <a:off x="5238408" y="2324029"/>
            <a:ext cx="1411941" cy="1870576"/>
          </a:xfrm>
          <a:prstGeom prst="rect">
            <a:avLst/>
          </a:prstGeom>
          <a:ln>
            <a:headEnd/>
            <a:tailEnd/>
          </a:ln>
          <a:extLst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sv-SE" sz="1600" b="1" dirty="0" smtClean="0">
                <a:solidFill>
                  <a:schemeClr val="tx1"/>
                </a:solidFill>
              </a:rPr>
              <a:t>Value Truck</a:t>
            </a:r>
          </a:p>
          <a:p>
            <a:pPr algn="ctr"/>
            <a:r>
              <a:rPr lang="sv-SE" sz="1600" b="1" dirty="0" smtClean="0">
                <a:solidFill>
                  <a:schemeClr val="tx1"/>
                </a:solidFill>
              </a:rPr>
              <a:t>Telematics</a:t>
            </a:r>
            <a:endParaRPr lang="sv-SE" sz="1600" b="1" dirty="0">
              <a:solidFill>
                <a:schemeClr val="tx1"/>
              </a:solidFill>
            </a:endParaRPr>
          </a:p>
          <a:p>
            <a:pPr algn="ctr"/>
            <a:r>
              <a:rPr lang="sv-SE" sz="16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sv-SE" sz="1600" dirty="0">
                <a:solidFill>
                  <a:schemeClr val="tx1"/>
                </a:solidFill>
              </a:rPr>
              <a:t>BLR</a:t>
            </a:r>
          </a:p>
        </p:txBody>
      </p:sp>
      <p:sp>
        <p:nvSpPr>
          <p:cNvPr id="21516" name="Rectangle 7"/>
          <p:cNvSpPr>
            <a:spLocks noChangeArrowheads="1"/>
          </p:cNvSpPr>
          <p:nvPr/>
        </p:nvSpPr>
        <p:spPr bwMode="auto">
          <a:xfrm>
            <a:off x="496237" y="2306998"/>
            <a:ext cx="1411941" cy="1885467"/>
          </a:xfrm>
          <a:prstGeom prst="rect">
            <a:avLst/>
          </a:prstGeom>
          <a:solidFill>
            <a:srgbClr val="00B0F0"/>
          </a:solidFill>
          <a:ln>
            <a:headEnd/>
            <a:tailEnd/>
          </a:ln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sv-SE" sz="1600" b="1" dirty="0" smtClean="0">
                <a:solidFill>
                  <a:schemeClr val="tx1"/>
                </a:solidFill>
              </a:rPr>
              <a:t>VTC&amp;RT</a:t>
            </a:r>
            <a:endParaRPr lang="sv-SE" sz="1600" b="1" dirty="0">
              <a:solidFill>
                <a:schemeClr val="tx1"/>
              </a:solidFill>
            </a:endParaRPr>
          </a:p>
          <a:p>
            <a:pPr algn="ctr"/>
            <a:r>
              <a:rPr lang="sv-SE" sz="1600" b="1" dirty="0">
                <a:solidFill>
                  <a:schemeClr val="tx1"/>
                </a:solidFill>
              </a:rPr>
              <a:t>Telematics</a:t>
            </a:r>
          </a:p>
          <a:p>
            <a:pPr algn="ctr"/>
            <a:endParaRPr lang="sv-SE" sz="1600" b="1" dirty="0">
              <a:solidFill>
                <a:schemeClr val="tx1"/>
              </a:solidFill>
            </a:endParaRPr>
          </a:p>
          <a:p>
            <a:pPr algn="ctr"/>
            <a:r>
              <a:rPr lang="sv-SE" sz="1600" dirty="0">
                <a:solidFill>
                  <a:schemeClr val="tx1"/>
                </a:solidFill>
              </a:rPr>
              <a:t>GOT</a:t>
            </a:r>
          </a:p>
        </p:txBody>
      </p:sp>
      <p:sp>
        <p:nvSpPr>
          <p:cNvPr id="21517" name="AutoShape 17"/>
          <p:cNvSpPr>
            <a:spLocks/>
          </p:cNvSpPr>
          <p:nvPr/>
        </p:nvSpPr>
        <p:spPr bwMode="auto">
          <a:xfrm>
            <a:off x="7056438" y="2522538"/>
            <a:ext cx="206375" cy="1363662"/>
          </a:xfrm>
          <a:prstGeom prst="rightBrace">
            <a:avLst>
              <a:gd name="adj1" fmla="val 55064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  <p:sp>
        <p:nvSpPr>
          <p:cNvPr id="21518" name="AutoShape 19"/>
          <p:cNvSpPr>
            <a:spLocks/>
          </p:cNvSpPr>
          <p:nvPr/>
        </p:nvSpPr>
        <p:spPr bwMode="auto">
          <a:xfrm>
            <a:off x="7043738" y="4305711"/>
            <a:ext cx="206375" cy="1363663"/>
          </a:xfrm>
          <a:prstGeom prst="rightBrace">
            <a:avLst>
              <a:gd name="adj1" fmla="val 55064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  <p:sp>
        <p:nvSpPr>
          <p:cNvPr id="21519" name="Text Box 20"/>
          <p:cNvSpPr txBox="1">
            <a:spLocks noChangeArrowheads="1"/>
          </p:cNvSpPr>
          <p:nvPr/>
        </p:nvSpPr>
        <p:spPr bwMode="auto">
          <a:xfrm>
            <a:off x="7281863" y="2897188"/>
            <a:ext cx="1819275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sv-SE" sz="1800"/>
              <a:t>Brand Solution Units (BSU)</a:t>
            </a:r>
          </a:p>
        </p:txBody>
      </p:sp>
      <p:sp>
        <p:nvSpPr>
          <p:cNvPr id="21520" name="Text Box 21"/>
          <p:cNvSpPr txBox="1">
            <a:spLocks noChangeArrowheads="1"/>
          </p:cNvSpPr>
          <p:nvPr/>
        </p:nvSpPr>
        <p:spPr bwMode="auto">
          <a:xfrm>
            <a:off x="7253288" y="4666074"/>
            <a:ext cx="1890712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sv-SE" sz="1800" dirty="0"/>
              <a:t>Global Platform Unit (GPU)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7641031" y="112184"/>
            <a:ext cx="1260277" cy="1201893"/>
            <a:chOff x="7641031" y="112184"/>
            <a:chExt cx="1260277" cy="1201893"/>
          </a:xfrm>
        </p:grpSpPr>
        <p:grpSp>
          <p:nvGrpSpPr>
            <p:cNvPr id="24" name="Group 23"/>
            <p:cNvGrpSpPr/>
            <p:nvPr/>
          </p:nvGrpSpPr>
          <p:grpSpPr>
            <a:xfrm>
              <a:off x="7878450" y="112184"/>
              <a:ext cx="778498" cy="964521"/>
              <a:chOff x="5411386" y="1322306"/>
              <a:chExt cx="2413936" cy="2990750"/>
            </a:xfrm>
          </p:grpSpPr>
          <p:pic>
            <p:nvPicPr>
              <p:cNvPr id="28" name="Picture 11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11386" y="2070202"/>
                <a:ext cx="2413936" cy="224285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9" name="TextBox 28">
                <a:hlinkClick r:id="rId3" action="ppaction://hlinksldjump"/>
              </p:cNvPr>
              <p:cNvSpPr txBox="1"/>
              <p:nvPr/>
            </p:nvSpPr>
            <p:spPr>
              <a:xfrm>
                <a:off x="5436710" y="1322306"/>
                <a:ext cx="2352054" cy="85890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sv-SE" sz="1200" b="1" dirty="0" smtClean="0">
                    <a:solidFill>
                      <a:schemeClr val="accent1">
                        <a:lumMod val="75000"/>
                      </a:schemeClr>
                    </a:solidFill>
                    <a:effectLst>
                      <a:outerShdw blurRad="50800" dist="50800" dir="5400000" algn="ctr" rotWithShape="0">
                        <a:schemeClr val="accent4"/>
                      </a:outerShdw>
                    </a:effectLst>
                  </a:rPr>
                  <a:t>Mission</a:t>
                </a:r>
              </a:p>
            </p:txBody>
          </p:sp>
        </p:grpSp>
        <p:sp>
          <p:nvSpPr>
            <p:cNvPr id="25" name="TextBox 24">
              <a:hlinkClick r:id="rId4" action="ppaction://hlinksldjump"/>
            </p:cNvPr>
            <p:cNvSpPr txBox="1"/>
            <p:nvPr/>
          </p:nvSpPr>
          <p:spPr>
            <a:xfrm>
              <a:off x="7729354" y="1037078"/>
              <a:ext cx="112723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sz="1200" b="1" dirty="0" smtClean="0">
                  <a:solidFill>
                    <a:schemeClr val="accent1">
                      <a:lumMod val="75000"/>
                    </a:schemeClr>
                  </a:solidFill>
                  <a:effectLst>
                    <a:outerShdw blurRad="50800" dist="50800" dir="5400000" algn="ctr" rotWithShape="0">
                      <a:schemeClr val="accent4"/>
                    </a:outerShdw>
                  </a:effectLst>
                </a:rPr>
                <a:t>Organization</a:t>
              </a:r>
            </a:p>
          </p:txBody>
        </p:sp>
        <p:sp>
          <p:nvSpPr>
            <p:cNvPr id="26" name="TextBox 25">
              <a:hlinkClick r:id="rId5" action="ppaction://hlinksldjump"/>
            </p:cNvPr>
            <p:cNvSpPr txBox="1"/>
            <p:nvPr/>
          </p:nvSpPr>
          <p:spPr>
            <a:xfrm rot="5400000">
              <a:off x="8418003" y="576544"/>
              <a:ext cx="68961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sz="1200" b="1" dirty="0" smtClean="0">
                  <a:solidFill>
                    <a:schemeClr val="accent1">
                      <a:lumMod val="75000"/>
                    </a:schemeClr>
                  </a:solidFill>
                  <a:effectLst>
                    <a:outerShdw blurRad="50800" dist="50800" dir="5400000" algn="ctr" rotWithShape="0">
                      <a:schemeClr val="accent4"/>
                    </a:outerShdw>
                  </a:effectLst>
                </a:rPr>
                <a:t>People</a:t>
              </a:r>
            </a:p>
          </p:txBody>
        </p:sp>
        <p:sp>
          <p:nvSpPr>
            <p:cNvPr id="27" name="TextBox 26">
              <a:hlinkClick r:id="rId5" action="ppaction://hlinksldjump"/>
            </p:cNvPr>
            <p:cNvSpPr txBox="1"/>
            <p:nvPr/>
          </p:nvSpPr>
          <p:spPr>
            <a:xfrm rot="16200000">
              <a:off x="7396252" y="576544"/>
              <a:ext cx="76655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sz="1200" b="1" dirty="0" smtClean="0">
                  <a:solidFill>
                    <a:schemeClr val="accent1">
                      <a:lumMod val="75000"/>
                    </a:schemeClr>
                  </a:solidFill>
                  <a:effectLst>
                    <a:outerShdw blurRad="50800" dist="50800" dir="5400000" algn="ctr" rotWithShape="0">
                      <a:schemeClr val="accent4"/>
                    </a:outerShdw>
                  </a:effectLst>
                </a:rPr>
                <a:t>Produc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25023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Vehicle Engineering, On-board Telematics, Martin Uland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0E9AD42-C178-4DDF-86C3-EDC77BEDCFC5}" type="slidenum">
              <a:rPr lang="en-US" noProof="0" smtClean="0"/>
              <a:pPr/>
              <a:t>7</a:t>
            </a:fld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sv-SE" noProof="0" smtClean="0"/>
              <a:t>2012-04-16</a:t>
            </a:r>
            <a:endParaRPr lang="en-US" noProof="0" dirty="0"/>
          </a:p>
        </p:txBody>
      </p:sp>
      <p:sp>
        <p:nvSpPr>
          <p:cNvPr id="21" name="Rectangle 2"/>
          <p:cNvSpPr>
            <a:spLocks noGrp="1" noChangeArrowheads="1"/>
          </p:cNvSpPr>
          <p:nvPr>
            <p:ph type="title"/>
          </p:nvPr>
        </p:nvSpPr>
        <p:spPr>
          <a:xfrm>
            <a:off x="293380" y="326228"/>
            <a:ext cx="8388350" cy="1261462"/>
          </a:xfrm>
        </p:spPr>
        <p:txBody>
          <a:bodyPr/>
          <a:lstStyle/>
          <a:p>
            <a:pPr eaLnBrk="1" hangingPunct="1"/>
            <a:r>
              <a:rPr lang="sv-SE" dirty="0" smtClean="0"/>
              <a:t>The staff - OBT Telematic SW Development and Verification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978925" y="3643953"/>
            <a:ext cx="3961341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000" dirty="0" smtClean="0"/>
              <a:t>-Embedded </a:t>
            </a:r>
            <a:r>
              <a:rPr lang="sv-SE" sz="2000" dirty="0"/>
              <a:t>Software </a:t>
            </a:r>
            <a:r>
              <a:rPr lang="sv-SE" sz="2000" dirty="0" smtClean="0"/>
              <a:t>Developers</a:t>
            </a:r>
          </a:p>
          <a:p>
            <a:r>
              <a:rPr lang="sv-SE" sz="2000" dirty="0" smtClean="0"/>
              <a:t>-Verification Engineers</a:t>
            </a:r>
            <a:endParaRPr lang="sv-SE" sz="2000" dirty="0"/>
          </a:p>
          <a:p>
            <a:r>
              <a:rPr lang="sv-SE" sz="2000" dirty="0" smtClean="0"/>
              <a:t>-Leaders (WP, SW, Verification)</a:t>
            </a:r>
            <a:endParaRPr lang="sv-SE" sz="2000" dirty="0"/>
          </a:p>
          <a:p>
            <a:r>
              <a:rPr lang="sv-SE" sz="2000" dirty="0" smtClean="0"/>
              <a:t>-Architects</a:t>
            </a:r>
            <a:endParaRPr lang="sv-SE" sz="2000" dirty="0"/>
          </a:p>
          <a:p>
            <a:r>
              <a:rPr lang="sv-SE" sz="2000" dirty="0" smtClean="0"/>
              <a:t>-Requirement </a:t>
            </a:r>
            <a:r>
              <a:rPr lang="sv-SE" sz="2000" dirty="0"/>
              <a:t>Managers</a:t>
            </a:r>
          </a:p>
          <a:p>
            <a:r>
              <a:rPr lang="sv-SE" sz="2000" dirty="0" smtClean="0"/>
              <a:t>-CM (only GOT)</a:t>
            </a:r>
            <a:endParaRPr lang="sv-SE" sz="2000" dirty="0"/>
          </a:p>
        </p:txBody>
      </p:sp>
      <p:sp>
        <p:nvSpPr>
          <p:cNvPr id="6" name="Oval 5"/>
          <p:cNvSpPr/>
          <p:nvPr/>
        </p:nvSpPr>
        <p:spPr>
          <a:xfrm>
            <a:off x="914400" y="2320119"/>
            <a:ext cx="1310185" cy="914400"/>
          </a:xfrm>
          <a:prstGeom prst="ellipse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2000" dirty="0" smtClean="0">
                <a:solidFill>
                  <a:schemeClr val="tx1"/>
                </a:solidFill>
              </a:rPr>
              <a:t>GOT</a:t>
            </a:r>
          </a:p>
          <a:p>
            <a:pPr algn="ctr"/>
            <a:r>
              <a:rPr lang="sv-SE" sz="2000" dirty="0" smtClean="0">
                <a:solidFill>
                  <a:schemeClr val="tx1"/>
                </a:solidFill>
              </a:rPr>
              <a:t>~ 50</a:t>
            </a:r>
          </a:p>
        </p:txBody>
      </p:sp>
      <p:sp>
        <p:nvSpPr>
          <p:cNvPr id="17" name="Oval 16"/>
          <p:cNvSpPr/>
          <p:nvPr/>
        </p:nvSpPr>
        <p:spPr>
          <a:xfrm>
            <a:off x="3127611" y="2363337"/>
            <a:ext cx="1310185" cy="914400"/>
          </a:xfrm>
          <a:prstGeom prst="ellipse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2000" dirty="0" smtClean="0">
                <a:solidFill>
                  <a:schemeClr val="tx1"/>
                </a:solidFill>
              </a:rPr>
              <a:t>BLR</a:t>
            </a:r>
          </a:p>
          <a:p>
            <a:pPr algn="ctr"/>
            <a:r>
              <a:rPr lang="sv-SE" sz="2000" dirty="0" smtClean="0">
                <a:solidFill>
                  <a:schemeClr val="tx1"/>
                </a:solidFill>
              </a:rPr>
              <a:t>~ 20</a:t>
            </a:r>
          </a:p>
        </p:txBody>
      </p:sp>
      <p:sp>
        <p:nvSpPr>
          <p:cNvPr id="28" name="Oval 27"/>
          <p:cNvSpPr/>
          <p:nvPr/>
        </p:nvSpPr>
        <p:spPr>
          <a:xfrm>
            <a:off x="5163402" y="2320119"/>
            <a:ext cx="1310185" cy="914400"/>
          </a:xfrm>
          <a:prstGeom prst="ellipse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2000" dirty="0" smtClean="0">
                <a:solidFill>
                  <a:schemeClr val="tx1"/>
                </a:solidFill>
              </a:rPr>
              <a:t>Altran</a:t>
            </a:r>
          </a:p>
          <a:p>
            <a:pPr algn="ctr"/>
            <a:r>
              <a:rPr lang="sv-SE" sz="2000" dirty="0" smtClean="0">
                <a:solidFill>
                  <a:schemeClr val="tx1"/>
                </a:solidFill>
              </a:rPr>
              <a:t>~ 25</a:t>
            </a:r>
          </a:p>
        </p:txBody>
      </p:sp>
    </p:spTree>
    <p:extLst>
      <p:ext uri="{BB962C8B-B14F-4D97-AF65-F5344CB8AC3E}">
        <p14:creationId xmlns:p14="http://schemas.microsoft.com/office/powerpoint/2010/main" val="569793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989" name="Text Box 45"/>
          <p:cNvSpPr txBox="1">
            <a:spLocks noChangeArrowheads="1"/>
          </p:cNvSpPr>
          <p:nvPr/>
        </p:nvSpPr>
        <p:spPr bwMode="auto">
          <a:xfrm>
            <a:off x="233363" y="1190625"/>
            <a:ext cx="6786562" cy="1311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/>
          <a:p>
            <a:pPr>
              <a:buFontTx/>
              <a:buChar char="•"/>
            </a:pPr>
            <a:r>
              <a:rPr lang="sv-SE"/>
              <a:t> </a:t>
            </a:r>
          </a:p>
          <a:p>
            <a:endParaRPr lang="sv-SE"/>
          </a:p>
          <a:p>
            <a:endParaRPr lang="sv-SE"/>
          </a:p>
        </p:txBody>
      </p:sp>
      <p:sp>
        <p:nvSpPr>
          <p:cNvPr id="594991" name="Rectangle 47"/>
          <p:cNvSpPr>
            <a:spLocks noChangeArrowheads="1"/>
          </p:cNvSpPr>
          <p:nvPr/>
        </p:nvSpPr>
        <p:spPr bwMode="auto">
          <a:xfrm>
            <a:off x="0" y="25146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spAutoFit/>
          </a:bodyPr>
          <a:lstStyle/>
          <a:p>
            <a:endParaRPr lang="sv-SE"/>
          </a:p>
        </p:txBody>
      </p:sp>
      <p:graphicFrame>
        <p:nvGraphicFramePr>
          <p:cNvPr id="594990" name="Object 4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18483297"/>
              </p:ext>
            </p:extLst>
          </p:nvPr>
        </p:nvGraphicFramePr>
        <p:xfrm>
          <a:off x="395288" y="908720"/>
          <a:ext cx="7489825" cy="2370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r:id="rId4" imgW="9738200" imgH="3023295" progId="Visio.Drawing.11">
                  <p:embed/>
                </p:oleObj>
              </mc:Choice>
              <mc:Fallback>
                <p:oleObj r:id="rId4" imgW="9738200" imgH="3023295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5288" y="908720"/>
                        <a:ext cx="7489825" cy="237013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4992" name="Text Box 48"/>
          <p:cNvSpPr txBox="1">
            <a:spLocks noChangeArrowheads="1"/>
          </p:cNvSpPr>
          <p:nvPr/>
        </p:nvSpPr>
        <p:spPr bwMode="auto">
          <a:xfrm>
            <a:off x="442020" y="2996952"/>
            <a:ext cx="8083550" cy="19411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/>
          <a:p>
            <a:pPr algn="ctr"/>
            <a:r>
              <a:rPr lang="sv-SE" b="1" dirty="0" smtClean="0"/>
              <a:t>Organization</a:t>
            </a:r>
            <a:endParaRPr lang="sv-SE" dirty="0"/>
          </a:p>
          <a:p>
            <a:pPr>
              <a:buFontTx/>
              <a:buChar char="•"/>
            </a:pPr>
            <a:r>
              <a:rPr lang="sv-SE" dirty="0"/>
              <a:t> Back Office system – VGT (Volvo Group Telematics</a:t>
            </a:r>
            <a:r>
              <a:rPr lang="sv-SE" dirty="0" smtClean="0"/>
              <a:t>) including Wcar </a:t>
            </a:r>
            <a:r>
              <a:rPr lang="sv-SE" dirty="0"/>
              <a:t>(Wireless Car), part of Volvo </a:t>
            </a:r>
            <a:r>
              <a:rPr lang="sv-SE" dirty="0" smtClean="0"/>
              <a:t>IT </a:t>
            </a:r>
          </a:p>
          <a:p>
            <a:pPr>
              <a:buFontTx/>
              <a:buChar char="•"/>
            </a:pPr>
            <a:r>
              <a:rPr lang="sv-SE" b="1" dirty="0" smtClean="0"/>
              <a:t> OnBoard Telematics part of Group Trucks Technology</a:t>
            </a:r>
            <a:endParaRPr lang="sv-SE" b="1" dirty="0"/>
          </a:p>
          <a:p>
            <a:pPr>
              <a:buFontTx/>
              <a:buChar char="•"/>
            </a:pPr>
            <a:r>
              <a:rPr lang="sv-SE" dirty="0"/>
              <a:t> Onboard ECU </a:t>
            </a:r>
            <a:r>
              <a:rPr lang="sv-SE" dirty="0" smtClean="0"/>
              <a:t>– Specified by OBT platform group</a:t>
            </a:r>
          </a:p>
          <a:p>
            <a:pPr>
              <a:buFontTx/>
              <a:buChar char="•"/>
            </a:pPr>
            <a:r>
              <a:rPr lang="sv-SE" dirty="0"/>
              <a:t> </a:t>
            </a:r>
            <a:r>
              <a:rPr lang="sv-SE" dirty="0" smtClean="0"/>
              <a:t>SW implemented by OBT SW Development.</a:t>
            </a:r>
          </a:p>
        </p:txBody>
      </p:sp>
      <p:sp>
        <p:nvSpPr>
          <p:cNvPr id="594993" name="Rectangle 4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E2E Telematic system overview</a:t>
            </a:r>
          </a:p>
        </p:txBody>
      </p:sp>
    </p:spTree>
    <p:extLst>
      <p:ext uri="{BB962C8B-B14F-4D97-AF65-F5344CB8AC3E}">
        <p14:creationId xmlns:p14="http://schemas.microsoft.com/office/powerpoint/2010/main" val="16714736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Footer Placeholder 3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sz="1000" smtClean="0"/>
              <a:t>Vehicle Engineering, On-board Telematics, Martin Ulander</a:t>
            </a:r>
            <a:endParaRPr lang="sv-SE" sz="1000" smtClean="0"/>
          </a:p>
        </p:txBody>
      </p:sp>
      <p:sp>
        <p:nvSpPr>
          <p:cNvPr id="33795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7932017D-190E-4F28-BFA7-CDA93097927D}" type="slidenum">
              <a:rPr lang="sv-SE" sz="1000" smtClean="0"/>
              <a:pPr eaLnBrk="1" hangingPunct="1"/>
              <a:t>9</a:t>
            </a:fld>
            <a:endParaRPr lang="sv-SE" sz="1000" smtClean="0"/>
          </a:p>
        </p:txBody>
      </p:sp>
      <p:sp>
        <p:nvSpPr>
          <p:cNvPr id="33796" name="Date Placeholder 5"/>
          <p:cNvSpPr>
            <a:spLocks noGrp="1"/>
          </p:cNvSpPr>
          <p:nvPr>
            <p:ph type="dt" sz="quarter" idx="12"/>
          </p:nvPr>
        </p:nvSpPr>
        <p:spPr>
          <a:noFill/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sv-SE" sz="1000" smtClean="0"/>
              <a:t>2012-04-16</a:t>
            </a:r>
          </a:p>
        </p:txBody>
      </p:sp>
      <p:sp>
        <p:nvSpPr>
          <p:cNvPr id="33797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sv-SE" sz="2800" dirty="0" smtClean="0"/>
              <a:t>Solution landscape ”to be”*</a:t>
            </a:r>
          </a:p>
        </p:txBody>
      </p:sp>
      <p:grpSp>
        <p:nvGrpSpPr>
          <p:cNvPr id="33798" name="Group 76"/>
          <p:cNvGrpSpPr>
            <a:grpSpLocks/>
          </p:cNvGrpSpPr>
          <p:nvPr/>
        </p:nvGrpSpPr>
        <p:grpSpPr bwMode="auto">
          <a:xfrm>
            <a:off x="473075" y="1873250"/>
            <a:ext cx="9566275" cy="3849688"/>
            <a:chOff x="358" y="1180"/>
            <a:chExt cx="6026" cy="2425"/>
          </a:xfrm>
        </p:grpSpPr>
        <p:grpSp>
          <p:nvGrpSpPr>
            <p:cNvPr id="33802" name="Group 2"/>
            <p:cNvGrpSpPr>
              <a:grpSpLocks/>
            </p:cNvGrpSpPr>
            <p:nvPr/>
          </p:nvGrpSpPr>
          <p:grpSpPr bwMode="auto">
            <a:xfrm>
              <a:off x="2198" y="1185"/>
              <a:ext cx="532" cy="437"/>
              <a:chOff x="2198" y="1185"/>
              <a:chExt cx="532" cy="437"/>
            </a:xfrm>
          </p:grpSpPr>
          <p:pic>
            <p:nvPicPr>
              <p:cNvPr id="33835" name="Picture 3" descr="Mack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241" y="1185"/>
                <a:ext cx="396" cy="3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3836" name="Text Box 4"/>
              <p:cNvSpPr txBox="1">
                <a:spLocks noChangeArrowheads="1"/>
              </p:cNvSpPr>
              <p:nvPr/>
            </p:nvSpPr>
            <p:spPr bwMode="auto">
              <a:xfrm>
                <a:off x="2198" y="1487"/>
                <a:ext cx="532" cy="13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sv-SE" sz="800" b="1"/>
                  <a:t>RoadConnect</a:t>
                </a:r>
              </a:p>
            </p:txBody>
          </p:sp>
        </p:grpSp>
        <p:pic>
          <p:nvPicPr>
            <p:cNvPr id="33803" name="Picture 6" descr="Volvo Link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33" y="1194"/>
              <a:ext cx="430" cy="4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04" name="Picture 7" descr="Dynafleet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5" y="1213"/>
              <a:ext cx="605" cy="3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05" name="Picture 8" descr="caretrack_standard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15" y="1242"/>
              <a:ext cx="522" cy="3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3806" name="Group 9"/>
            <p:cNvGrpSpPr>
              <a:grpSpLocks/>
            </p:cNvGrpSpPr>
            <p:nvPr/>
          </p:nvGrpSpPr>
          <p:grpSpPr bwMode="auto">
            <a:xfrm>
              <a:off x="1106" y="1199"/>
              <a:ext cx="394" cy="444"/>
              <a:chOff x="1598" y="1555"/>
              <a:chExt cx="382" cy="411"/>
            </a:xfrm>
          </p:grpSpPr>
          <p:pic>
            <p:nvPicPr>
              <p:cNvPr id="33833" name="Picture 10" descr="RT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53" y="1555"/>
                <a:ext cx="279" cy="4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3834" name="Text Box 11"/>
              <p:cNvSpPr txBox="1">
                <a:spLocks noChangeArrowheads="1"/>
              </p:cNvSpPr>
              <p:nvPr/>
            </p:nvSpPr>
            <p:spPr bwMode="auto">
              <a:xfrm>
                <a:off x="1598" y="1833"/>
                <a:ext cx="382" cy="12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sv-SE" sz="800" b="1"/>
                  <a:t>OptiFleet</a:t>
                </a:r>
              </a:p>
            </p:txBody>
          </p:sp>
        </p:grpSp>
        <p:grpSp>
          <p:nvGrpSpPr>
            <p:cNvPr id="33807" name="Group 12"/>
            <p:cNvGrpSpPr>
              <a:grpSpLocks/>
            </p:cNvGrpSpPr>
            <p:nvPr/>
          </p:nvGrpSpPr>
          <p:grpSpPr bwMode="auto">
            <a:xfrm>
              <a:off x="2813" y="1180"/>
              <a:ext cx="523" cy="457"/>
              <a:chOff x="2511" y="1558"/>
              <a:chExt cx="480" cy="400"/>
            </a:xfrm>
          </p:grpSpPr>
          <p:pic>
            <p:nvPicPr>
              <p:cNvPr id="33831" name="Picture 13" descr="UT trucks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11" y="1558"/>
                <a:ext cx="480" cy="4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3832" name="Text Box 14"/>
              <p:cNvSpPr txBox="1">
                <a:spLocks noChangeArrowheads="1"/>
              </p:cNvSpPr>
              <p:nvPr/>
            </p:nvSpPr>
            <p:spPr bwMode="auto">
              <a:xfrm>
                <a:off x="2533" y="1829"/>
                <a:ext cx="412" cy="11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sv-SE" sz="800" b="1"/>
                  <a:t>Telematics</a:t>
                </a:r>
              </a:p>
            </p:txBody>
          </p:sp>
        </p:grpSp>
        <p:pic>
          <p:nvPicPr>
            <p:cNvPr id="33808" name="Picture 150" descr="segment rad 1 jpeg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8" y="1638"/>
              <a:ext cx="2963" cy="6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09" name="Picture 16" descr="Untitled-6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1" y="1632"/>
              <a:ext cx="580" cy="6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10" name="Picture 17" descr="UD Quon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54" y="1639"/>
              <a:ext cx="600" cy="5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3811" name="Group 18"/>
            <p:cNvGrpSpPr>
              <a:grpSpLocks/>
            </p:cNvGrpSpPr>
            <p:nvPr/>
          </p:nvGrpSpPr>
          <p:grpSpPr bwMode="auto">
            <a:xfrm>
              <a:off x="3384" y="1633"/>
              <a:ext cx="3000" cy="614"/>
              <a:chOff x="1817" y="173"/>
              <a:chExt cx="3473" cy="677"/>
            </a:xfrm>
          </p:grpSpPr>
          <p:pic>
            <p:nvPicPr>
              <p:cNvPr id="33829" name="Picture 164" descr="segment rad 2"/>
              <p:cNvPicPr>
                <a:picLocks noChangeAspect="1" noChangeArrowheads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17" y="173"/>
                <a:ext cx="3467" cy="6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3830" name="Rectangle 20"/>
              <p:cNvSpPr>
                <a:spLocks noChangeArrowheads="1"/>
              </p:cNvSpPr>
              <p:nvPr/>
            </p:nvSpPr>
            <p:spPr bwMode="auto">
              <a:xfrm>
                <a:off x="3193" y="173"/>
                <a:ext cx="2097" cy="67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sv-SE"/>
              </a:p>
            </p:txBody>
          </p:sp>
        </p:grpSp>
        <p:sp>
          <p:nvSpPr>
            <p:cNvPr id="33812" name="Text Box 21"/>
            <p:cNvSpPr txBox="1">
              <a:spLocks noChangeArrowheads="1"/>
            </p:cNvSpPr>
            <p:nvPr/>
          </p:nvSpPr>
          <p:spPr bwMode="auto">
            <a:xfrm>
              <a:off x="1369" y="3413"/>
              <a:ext cx="669" cy="1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r>
                <a:rPr lang="sv-SE" sz="1400"/>
                <a:t>           V3P</a:t>
              </a:r>
            </a:p>
          </p:txBody>
        </p:sp>
        <p:sp>
          <p:nvSpPr>
            <p:cNvPr id="33813" name="Text Box 22"/>
            <p:cNvSpPr txBox="1">
              <a:spLocks noChangeArrowheads="1"/>
            </p:cNvSpPr>
            <p:nvPr/>
          </p:nvSpPr>
          <p:spPr bwMode="auto">
            <a:xfrm>
              <a:off x="3499" y="3405"/>
              <a:ext cx="347" cy="1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r>
                <a:rPr lang="sv-SE" sz="1400"/>
                <a:t>VBC</a:t>
              </a:r>
            </a:p>
          </p:txBody>
        </p:sp>
        <p:sp>
          <p:nvSpPr>
            <p:cNvPr id="33814" name="Text Box 23"/>
            <p:cNvSpPr txBox="1">
              <a:spLocks noChangeArrowheads="1"/>
            </p:cNvSpPr>
            <p:nvPr/>
          </p:nvSpPr>
          <p:spPr bwMode="auto">
            <a:xfrm>
              <a:off x="4088" y="3401"/>
              <a:ext cx="347" cy="1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r>
                <a:rPr lang="sv-SE" sz="1400"/>
                <a:t>VCE</a:t>
              </a:r>
            </a:p>
          </p:txBody>
        </p:sp>
        <p:sp>
          <p:nvSpPr>
            <p:cNvPr id="33815" name="Rectangle 24"/>
            <p:cNvSpPr>
              <a:spLocks noChangeArrowheads="1"/>
            </p:cNvSpPr>
            <p:nvPr/>
          </p:nvSpPr>
          <p:spPr bwMode="auto">
            <a:xfrm>
              <a:off x="381" y="1186"/>
              <a:ext cx="2990" cy="2411"/>
            </a:xfrm>
            <a:prstGeom prst="rect">
              <a:avLst/>
            </a:prstGeom>
            <a:noFill/>
            <a:ln w="19050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sv-SE"/>
            </a:p>
          </p:txBody>
        </p:sp>
        <p:sp>
          <p:nvSpPr>
            <p:cNvPr id="33816" name="Rectangle 25"/>
            <p:cNvSpPr>
              <a:spLocks noChangeArrowheads="1"/>
            </p:cNvSpPr>
            <p:nvPr/>
          </p:nvSpPr>
          <p:spPr bwMode="auto">
            <a:xfrm>
              <a:off x="3976" y="1186"/>
              <a:ext cx="606" cy="2411"/>
            </a:xfrm>
            <a:prstGeom prst="rect">
              <a:avLst/>
            </a:prstGeom>
            <a:noFill/>
            <a:ln w="19050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sv-SE"/>
            </a:p>
          </p:txBody>
        </p:sp>
        <p:sp>
          <p:nvSpPr>
            <p:cNvPr id="33817" name="Rectangle 26"/>
            <p:cNvSpPr>
              <a:spLocks noChangeArrowheads="1"/>
            </p:cNvSpPr>
            <p:nvPr/>
          </p:nvSpPr>
          <p:spPr bwMode="auto">
            <a:xfrm>
              <a:off x="3371" y="1186"/>
              <a:ext cx="605" cy="2411"/>
            </a:xfrm>
            <a:prstGeom prst="rect">
              <a:avLst/>
            </a:prstGeom>
            <a:noFill/>
            <a:ln w="19050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sv-SE"/>
            </a:p>
          </p:txBody>
        </p:sp>
        <p:sp>
          <p:nvSpPr>
            <p:cNvPr id="33818" name="Text Box 27"/>
            <p:cNvSpPr txBox="1">
              <a:spLocks noChangeArrowheads="1"/>
            </p:cNvSpPr>
            <p:nvPr/>
          </p:nvSpPr>
          <p:spPr bwMode="auto">
            <a:xfrm>
              <a:off x="416" y="2834"/>
              <a:ext cx="1652" cy="4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r>
                <a:rPr lang="sv-SE" sz="1800" b="1"/>
                <a:t>CAST</a:t>
              </a:r>
              <a:r>
                <a:rPr lang="sv-SE" sz="1800"/>
                <a:t> </a:t>
              </a:r>
            </a:p>
            <a:p>
              <a:pPr eaLnBrk="1" hangingPunct="1"/>
              <a:r>
                <a:rPr lang="sv-SE" sz="1600"/>
                <a:t>Global Telematics Platform</a:t>
              </a:r>
            </a:p>
          </p:txBody>
        </p:sp>
        <p:sp>
          <p:nvSpPr>
            <p:cNvPr id="33819" name="Text Box 28"/>
            <p:cNvSpPr txBox="1">
              <a:spLocks noChangeArrowheads="1"/>
            </p:cNvSpPr>
            <p:nvPr/>
          </p:nvSpPr>
          <p:spPr bwMode="auto">
            <a:xfrm>
              <a:off x="2196" y="2294"/>
              <a:ext cx="1628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r>
                <a:rPr lang="sv-SE" sz="1800"/>
                <a:t>Brand specific solutions</a:t>
              </a:r>
            </a:p>
          </p:txBody>
        </p:sp>
        <p:graphicFrame>
          <p:nvGraphicFramePr>
            <p:cNvPr id="33820" name="Object 29"/>
            <p:cNvGraphicFramePr>
              <a:graphicFrameLocks noChangeAspect="1"/>
            </p:cNvGraphicFramePr>
            <p:nvPr/>
          </p:nvGraphicFramePr>
          <p:xfrm>
            <a:off x="368" y="2241"/>
            <a:ext cx="3608" cy="118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8202" name="Worksheet" r:id="rId13" imgW="3861985" imgH="1267847" progId="Excel.Sheet.8">
                    <p:embed/>
                  </p:oleObj>
                </mc:Choice>
                <mc:Fallback>
                  <p:oleObj name="Worksheet" r:id="rId13" imgW="3861985" imgH="1267847" progId="Excel.Sheet.8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68" y="2241"/>
                          <a:ext cx="3608" cy="118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pSp>
          <p:nvGrpSpPr>
            <p:cNvPr id="33821" name="Group 30"/>
            <p:cNvGrpSpPr>
              <a:grpSpLocks/>
            </p:cNvGrpSpPr>
            <p:nvPr/>
          </p:nvGrpSpPr>
          <p:grpSpPr bwMode="auto">
            <a:xfrm>
              <a:off x="3388" y="1252"/>
              <a:ext cx="554" cy="307"/>
              <a:chOff x="3244" y="943"/>
              <a:chExt cx="554" cy="307"/>
            </a:xfrm>
          </p:grpSpPr>
          <p:pic>
            <p:nvPicPr>
              <p:cNvPr id="33827" name="Picture 31" descr="ITS4Mobility"/>
              <p:cNvPicPr>
                <a:picLocks noChangeAspect="1" noChangeArrowheads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44" y="943"/>
                <a:ext cx="548" cy="3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3828" name="Text Box 32"/>
              <p:cNvSpPr txBox="1">
                <a:spLocks noChangeArrowheads="1"/>
              </p:cNvSpPr>
              <p:nvPr/>
            </p:nvSpPr>
            <p:spPr bwMode="auto">
              <a:xfrm>
                <a:off x="3244" y="1026"/>
                <a:ext cx="554" cy="14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sv-SE" sz="900" b="1">
                    <a:solidFill>
                      <a:schemeClr val="bg1"/>
                    </a:solidFill>
                  </a:rPr>
                  <a:t>ITS4Mobility</a:t>
                </a:r>
              </a:p>
            </p:txBody>
          </p:sp>
        </p:grpSp>
        <p:sp>
          <p:nvSpPr>
            <p:cNvPr id="478243" name="Freeform 35"/>
            <p:cNvSpPr>
              <a:spLocks/>
            </p:cNvSpPr>
            <p:nvPr/>
          </p:nvSpPr>
          <p:spPr bwMode="auto">
            <a:xfrm>
              <a:off x="372" y="2240"/>
              <a:ext cx="4204" cy="1172"/>
            </a:xfrm>
            <a:custGeom>
              <a:avLst/>
              <a:gdLst>
                <a:gd name="T0" fmla="*/ 0 w 4204"/>
                <a:gd name="T1" fmla="*/ 4 h 1172"/>
                <a:gd name="T2" fmla="*/ 4204 w 4204"/>
                <a:gd name="T3" fmla="*/ 0 h 1172"/>
                <a:gd name="T4" fmla="*/ 4200 w 4204"/>
                <a:gd name="T5" fmla="*/ 1172 h 1172"/>
                <a:gd name="T6" fmla="*/ 1796 w 4204"/>
                <a:gd name="T7" fmla="*/ 1172 h 1172"/>
                <a:gd name="T8" fmla="*/ 1796 w 4204"/>
                <a:gd name="T9" fmla="*/ 292 h 1172"/>
                <a:gd name="T10" fmla="*/ 1200 w 4204"/>
                <a:gd name="T11" fmla="*/ 292 h 1172"/>
                <a:gd name="T12" fmla="*/ 1196 w 4204"/>
                <a:gd name="T13" fmla="*/ 152 h 1172"/>
                <a:gd name="T14" fmla="*/ 0 w 4204"/>
                <a:gd name="T15" fmla="*/ 152 h 1172"/>
                <a:gd name="T16" fmla="*/ 0 w 4204"/>
                <a:gd name="T17" fmla="*/ 4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04" h="1172">
                  <a:moveTo>
                    <a:pt x="0" y="4"/>
                  </a:moveTo>
                  <a:lnTo>
                    <a:pt x="4204" y="0"/>
                  </a:lnTo>
                  <a:lnTo>
                    <a:pt x="4200" y="1172"/>
                  </a:lnTo>
                  <a:lnTo>
                    <a:pt x="1796" y="1172"/>
                  </a:lnTo>
                  <a:lnTo>
                    <a:pt x="1796" y="292"/>
                  </a:lnTo>
                  <a:lnTo>
                    <a:pt x="1200" y="292"/>
                  </a:lnTo>
                  <a:lnTo>
                    <a:pt x="1196" y="152"/>
                  </a:lnTo>
                  <a:lnTo>
                    <a:pt x="0" y="152"/>
                  </a:lnTo>
                  <a:lnTo>
                    <a:pt x="0" y="4"/>
                  </a:lnTo>
                  <a:close/>
                </a:path>
              </a:pathLst>
            </a:custGeom>
            <a:gradFill rotWithShape="1">
              <a:gsLst>
                <a:gs pos="0">
                  <a:schemeClr val="accent1">
                    <a:alpha val="70000"/>
                  </a:schemeClr>
                </a:gs>
                <a:gs pos="100000">
                  <a:schemeClr val="accent1">
                    <a:gamma/>
                    <a:shade val="46275"/>
                    <a:invGamma/>
                    <a:alpha val="70000"/>
                  </a:schemeClr>
                </a:gs>
              </a:gsLst>
              <a:lin ang="5400000" scaled="1"/>
            </a:gra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>
                <a:defRPr/>
              </a:pPr>
              <a:endParaRPr lang="sv-SE">
                <a:latin typeface="Arial" charset="0"/>
              </a:endParaRPr>
            </a:p>
          </p:txBody>
        </p:sp>
        <p:sp>
          <p:nvSpPr>
            <p:cNvPr id="33823" name="Rectangle 36"/>
            <p:cNvSpPr>
              <a:spLocks noChangeArrowheads="1"/>
            </p:cNvSpPr>
            <p:nvPr/>
          </p:nvSpPr>
          <p:spPr bwMode="auto">
            <a:xfrm>
              <a:off x="3976" y="2236"/>
              <a:ext cx="596" cy="1180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sv-SE"/>
            </a:p>
          </p:txBody>
        </p:sp>
        <p:sp>
          <p:nvSpPr>
            <p:cNvPr id="33824" name="Text Box 37"/>
            <p:cNvSpPr txBox="1">
              <a:spLocks noChangeArrowheads="1"/>
            </p:cNvSpPr>
            <p:nvPr/>
          </p:nvSpPr>
          <p:spPr bwMode="auto">
            <a:xfrm>
              <a:off x="2659" y="2327"/>
              <a:ext cx="1416" cy="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r>
                <a:rPr lang="sv-SE" sz="1600"/>
                <a:t>Brand unique solutions</a:t>
              </a:r>
            </a:p>
          </p:txBody>
        </p:sp>
        <p:sp>
          <p:nvSpPr>
            <p:cNvPr id="33825" name="Freeform 75"/>
            <p:cNvSpPr>
              <a:spLocks/>
            </p:cNvSpPr>
            <p:nvPr/>
          </p:nvSpPr>
          <p:spPr bwMode="auto">
            <a:xfrm>
              <a:off x="372" y="2392"/>
              <a:ext cx="4212" cy="1020"/>
            </a:xfrm>
            <a:custGeom>
              <a:avLst/>
              <a:gdLst>
                <a:gd name="T0" fmla="*/ 0 w 4212"/>
                <a:gd name="T1" fmla="*/ 0 h 1020"/>
                <a:gd name="T2" fmla="*/ 1200 w 4212"/>
                <a:gd name="T3" fmla="*/ 0 h 1020"/>
                <a:gd name="T4" fmla="*/ 1200 w 4212"/>
                <a:gd name="T5" fmla="*/ 144 h 1020"/>
                <a:gd name="T6" fmla="*/ 3000 w 4212"/>
                <a:gd name="T7" fmla="*/ 144 h 1020"/>
                <a:gd name="T8" fmla="*/ 3000 w 4212"/>
                <a:gd name="T9" fmla="*/ 396 h 1020"/>
                <a:gd name="T10" fmla="*/ 4212 w 4212"/>
                <a:gd name="T11" fmla="*/ 396 h 1020"/>
                <a:gd name="T12" fmla="*/ 4212 w 4212"/>
                <a:gd name="T13" fmla="*/ 1020 h 1020"/>
                <a:gd name="T14" fmla="*/ 4 w 4212"/>
                <a:gd name="T15" fmla="*/ 1012 h 1020"/>
                <a:gd name="T16" fmla="*/ 0 w 4212"/>
                <a:gd name="T17" fmla="*/ 0 h 10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12" h="1020">
                  <a:moveTo>
                    <a:pt x="0" y="0"/>
                  </a:moveTo>
                  <a:lnTo>
                    <a:pt x="1200" y="0"/>
                  </a:lnTo>
                  <a:lnTo>
                    <a:pt x="1200" y="144"/>
                  </a:lnTo>
                  <a:lnTo>
                    <a:pt x="3000" y="144"/>
                  </a:lnTo>
                  <a:lnTo>
                    <a:pt x="3000" y="396"/>
                  </a:lnTo>
                  <a:lnTo>
                    <a:pt x="4212" y="396"/>
                  </a:lnTo>
                  <a:lnTo>
                    <a:pt x="4212" y="1020"/>
                  </a:lnTo>
                  <a:lnTo>
                    <a:pt x="4" y="1012"/>
                  </a:ln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rgbClr val="00FF00">
                    <a:alpha val="89998"/>
                  </a:srgbClr>
                </a:gs>
                <a:gs pos="100000">
                  <a:srgbClr val="007600">
                    <a:alpha val="79999"/>
                  </a:srgbClr>
                </a:gs>
              </a:gsLst>
              <a:lin ang="5400000" scaled="1"/>
            </a:gra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sv-SE"/>
            </a:p>
          </p:txBody>
        </p:sp>
        <p:sp>
          <p:nvSpPr>
            <p:cNvPr id="33826" name="Text Box 34"/>
            <p:cNvSpPr txBox="1">
              <a:spLocks noChangeArrowheads="1"/>
            </p:cNvSpPr>
            <p:nvPr/>
          </p:nvSpPr>
          <p:spPr bwMode="auto">
            <a:xfrm>
              <a:off x="415" y="2816"/>
              <a:ext cx="1652" cy="4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r>
                <a:rPr lang="sv-SE" sz="1800"/>
                <a:t>CAST</a:t>
              </a:r>
            </a:p>
            <a:p>
              <a:pPr eaLnBrk="1" hangingPunct="1"/>
              <a:r>
                <a:rPr lang="sv-SE" sz="1600"/>
                <a:t>Global Telematics Platform</a:t>
              </a:r>
            </a:p>
          </p:txBody>
        </p:sp>
      </p:grpSp>
      <p:sp>
        <p:nvSpPr>
          <p:cNvPr id="33799" name="Text Box 77"/>
          <p:cNvSpPr txBox="1">
            <a:spLocks noChangeArrowheads="1"/>
          </p:cNvSpPr>
          <p:nvPr/>
        </p:nvSpPr>
        <p:spPr bwMode="auto">
          <a:xfrm>
            <a:off x="5432425" y="5792788"/>
            <a:ext cx="396398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sv-SE" sz="1400"/>
              <a:t> *COTAST alignment &amp; timeframe TBD</a:t>
            </a:r>
          </a:p>
        </p:txBody>
      </p:sp>
      <p:sp>
        <p:nvSpPr>
          <p:cNvPr id="33800" name="Rectangle 78"/>
          <p:cNvSpPr>
            <a:spLocks noChangeArrowheads="1"/>
          </p:cNvSpPr>
          <p:nvPr/>
        </p:nvSpPr>
        <p:spPr bwMode="auto">
          <a:xfrm>
            <a:off x="506413" y="1552575"/>
            <a:ext cx="6669087" cy="333375"/>
          </a:xfrm>
          <a:prstGeom prst="rect">
            <a:avLst/>
          </a:prstGeom>
          <a:gradFill rotWithShape="1">
            <a:gsLst>
              <a:gs pos="0">
                <a:srgbClr val="DD9DDF"/>
              </a:gs>
              <a:gs pos="100000">
                <a:srgbClr val="664967"/>
              </a:gs>
            </a:gsLst>
            <a:lin ang="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sv-SE"/>
          </a:p>
        </p:txBody>
      </p:sp>
      <p:sp>
        <p:nvSpPr>
          <p:cNvPr id="33801" name="Text Box 79"/>
          <p:cNvSpPr txBox="1">
            <a:spLocks noChangeArrowheads="1"/>
          </p:cNvSpPr>
          <p:nvPr/>
        </p:nvSpPr>
        <p:spPr bwMode="auto">
          <a:xfrm>
            <a:off x="1320800" y="1549400"/>
            <a:ext cx="4935538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sv-SE" sz="1600"/>
              <a:t>Fleet operation, Uptime &amp; Advanced vehicle services</a:t>
            </a:r>
          </a:p>
        </p:txBody>
      </p:sp>
      <p:grpSp>
        <p:nvGrpSpPr>
          <p:cNvPr id="51" name="Group 50"/>
          <p:cNvGrpSpPr/>
          <p:nvPr/>
        </p:nvGrpSpPr>
        <p:grpSpPr>
          <a:xfrm>
            <a:off x="7641031" y="112184"/>
            <a:ext cx="1260277" cy="1201893"/>
            <a:chOff x="7641031" y="112184"/>
            <a:chExt cx="1260277" cy="1201893"/>
          </a:xfrm>
        </p:grpSpPr>
        <p:grpSp>
          <p:nvGrpSpPr>
            <p:cNvPr id="52" name="Group 51"/>
            <p:cNvGrpSpPr/>
            <p:nvPr/>
          </p:nvGrpSpPr>
          <p:grpSpPr>
            <a:xfrm>
              <a:off x="7878450" y="112184"/>
              <a:ext cx="778498" cy="964521"/>
              <a:chOff x="5411386" y="1322306"/>
              <a:chExt cx="2413936" cy="2990750"/>
            </a:xfrm>
          </p:grpSpPr>
          <p:pic>
            <p:nvPicPr>
              <p:cNvPr id="56" name="Picture 11"/>
              <p:cNvPicPr>
                <a:picLocks noChangeAspect="1" noChangeArrowheads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11386" y="2070202"/>
                <a:ext cx="2413936" cy="224285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57" name="TextBox 56">
                <a:hlinkClick r:id="rId17" action="ppaction://hlinksldjump"/>
              </p:cNvPr>
              <p:cNvSpPr txBox="1"/>
              <p:nvPr/>
            </p:nvSpPr>
            <p:spPr>
              <a:xfrm>
                <a:off x="5436710" y="1322306"/>
                <a:ext cx="2352054" cy="85890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sv-SE" sz="1200" b="1" dirty="0" smtClean="0">
                    <a:solidFill>
                      <a:schemeClr val="accent1">
                        <a:lumMod val="75000"/>
                      </a:schemeClr>
                    </a:solidFill>
                    <a:effectLst>
                      <a:outerShdw blurRad="50800" dist="50800" dir="5400000" algn="ctr" rotWithShape="0">
                        <a:schemeClr val="accent4"/>
                      </a:outerShdw>
                    </a:effectLst>
                  </a:rPr>
                  <a:t>Mission</a:t>
                </a:r>
              </a:p>
            </p:txBody>
          </p:sp>
        </p:grpSp>
        <p:sp>
          <p:nvSpPr>
            <p:cNvPr id="53" name="TextBox 52">
              <a:hlinkClick r:id="rId18" action="ppaction://hlinksldjump"/>
            </p:cNvPr>
            <p:cNvSpPr txBox="1"/>
            <p:nvPr/>
          </p:nvSpPr>
          <p:spPr>
            <a:xfrm>
              <a:off x="7729354" y="1037078"/>
              <a:ext cx="112723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sz="1200" b="1" dirty="0" smtClean="0">
                  <a:solidFill>
                    <a:schemeClr val="accent1">
                      <a:lumMod val="75000"/>
                    </a:schemeClr>
                  </a:solidFill>
                  <a:effectLst>
                    <a:outerShdw blurRad="50800" dist="50800" dir="5400000" algn="ctr" rotWithShape="0">
                      <a:schemeClr val="accent4"/>
                    </a:outerShdw>
                  </a:effectLst>
                </a:rPr>
                <a:t>Organization</a:t>
              </a:r>
            </a:p>
          </p:txBody>
        </p:sp>
        <p:sp>
          <p:nvSpPr>
            <p:cNvPr id="54" name="TextBox 53">
              <a:hlinkClick r:id="rId19" action="ppaction://hlinksldjump"/>
            </p:cNvPr>
            <p:cNvSpPr txBox="1"/>
            <p:nvPr/>
          </p:nvSpPr>
          <p:spPr>
            <a:xfrm rot="5400000">
              <a:off x="8418003" y="576544"/>
              <a:ext cx="68961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sz="1200" b="1" dirty="0" smtClean="0">
                  <a:solidFill>
                    <a:schemeClr val="accent1">
                      <a:lumMod val="75000"/>
                    </a:schemeClr>
                  </a:solidFill>
                  <a:effectLst>
                    <a:outerShdw blurRad="50800" dist="50800" dir="5400000" algn="ctr" rotWithShape="0">
                      <a:schemeClr val="accent4"/>
                    </a:outerShdw>
                  </a:effectLst>
                </a:rPr>
                <a:t>People</a:t>
              </a:r>
            </a:p>
          </p:txBody>
        </p:sp>
        <p:sp>
          <p:nvSpPr>
            <p:cNvPr id="55" name="TextBox 54">
              <a:hlinkClick r:id="rId19" action="ppaction://hlinksldjump"/>
            </p:cNvPr>
            <p:cNvSpPr txBox="1"/>
            <p:nvPr/>
          </p:nvSpPr>
          <p:spPr>
            <a:xfrm rot="16200000">
              <a:off x="7396252" y="576544"/>
              <a:ext cx="76655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sz="1200" b="1" dirty="0" smtClean="0">
                  <a:solidFill>
                    <a:schemeClr val="accent1">
                      <a:lumMod val="75000"/>
                    </a:schemeClr>
                  </a:solidFill>
                  <a:effectLst>
                    <a:outerShdw blurRad="50800" dist="50800" dir="5400000" algn="ctr" rotWithShape="0">
                      <a:schemeClr val="accent4"/>
                    </a:outerShdw>
                  </a:effectLst>
                </a:rPr>
                <a:t>Produc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7805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RXrnkWGUq5g8.Ncz94D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nRkhKlQEiArJW2qOZuC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6nj2SUcU2dbc0EHOlFd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NkrA7yfEqKGd3lF13gx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sQA4gz3kOXnLUIEv5G3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rQVLfJEkOPsT0XzOnRi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4JcELKYkib1laTXXyiP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Jj8MnEd0aWg_ri9ki3H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tK84x6mka5JjJYIHIG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FkfH70AkOfVT4xJnZSv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5gdErV.km8iMOMBlUhT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mFn31JFkuBtmhrGjNZ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iAvgAsLEGCdC.fS1SES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Jmjgi7CU.W543xrRLo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Mvnx89akeADa4C439V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K9YRaq0a6VO9pG3L5Sw"/>
</p:tagLst>
</file>

<file path=ppt/theme/theme1.xml><?xml version="1.0" encoding="utf-8"?>
<a:theme xmlns:a="http://schemas.openxmlformats.org/drawingml/2006/main" name="OBT Site strategies">
  <a:themeElements>
    <a:clrScheme name="Volvo Profile and Accent Colors - AB Volvo/BU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</a:theme>
</file>

<file path=ppt/theme/theme10.xml><?xml version="1.0" encoding="utf-8"?>
<a:theme xmlns:a="http://schemas.openxmlformats.org/drawingml/2006/main" name="Eicher">
  <a:themeElements>
    <a:clrScheme name="Volvo Profile and Accent Colors - AB Volvo/BU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</a:theme>
</file>

<file path=ppt/theme/theme11.xml><?xml version="1.0" encoding="utf-8"?>
<a:theme xmlns:a="http://schemas.openxmlformats.org/drawingml/2006/main" name="Black">
  <a:themeElements>
    <a:clrScheme name="Volvo Profile and Accent Colors - AB Volvo/BU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</a:theme>
</file>

<file path=ppt/theme/theme12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White_Volvo Group Trucks Technology">
  <a:themeElements>
    <a:clrScheme name="Volvo Profile and Accent Colors - AB Volvo/BU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Globe">
  <a:themeElements>
    <a:clrScheme name="Volvo Profile and Accent Colors - AB Volvo/BU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Bridge">
  <a:themeElements>
    <a:clrScheme name="Volvo Profile and Accent Colors - AB Volvo/BU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Volvo Trucks">
  <a:themeElements>
    <a:clrScheme name="Volvo Profile and Accent Colors - AB Volvo/BU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Front">
  <a:themeElements>
    <a:clrScheme name="Volvo Profile and Accent Colors - AB Volvo/BU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Renault Trucks">
  <a:themeElements>
    <a:clrScheme name="Volvo Profile and Accent Colors - AB Volvo/BU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Mack Trucks">
  <a:themeElements>
    <a:clrScheme name="Volvo Profile and Accent Colors - AB Volvo/BU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UD Trucks">
  <a:themeElements>
    <a:clrScheme name="Volvo Profile and Accent Colors - AB Volvo/BU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3457BA867559B4DAB8353E2FC5D1A9C" ma:contentTypeVersion="0" ma:contentTypeDescription="Create a new document." ma:contentTypeScope="" ma:versionID="ca87908623875b36dae6e7c6a0ced95b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8266267-A283-4E64-A9B0-766AE834D3F3}">
  <ds:schemaRefs>
    <ds:schemaRef ds:uri="http://purl.org/dc/dcmitype/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B766DB6-654E-4EEB-AA40-62ACAC02203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ED56036-4DCD-4566-B744-708201DFD6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BT Site strategies</Template>
  <TotalTime>0</TotalTime>
  <Words>1335</Words>
  <Application>Microsoft Office PowerPoint</Application>
  <PresentationFormat>On-screen Show (4:3)</PresentationFormat>
  <Paragraphs>433</Paragraphs>
  <Slides>20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11</vt:i4>
      </vt:variant>
      <vt:variant>
        <vt:lpstr>Embedded OLE Servers</vt:lpstr>
      </vt:variant>
      <vt:variant>
        <vt:i4>4</vt:i4>
      </vt:variant>
      <vt:variant>
        <vt:lpstr>Slide Titles</vt:lpstr>
      </vt:variant>
      <vt:variant>
        <vt:i4>20</vt:i4>
      </vt:variant>
    </vt:vector>
  </HeadingPairs>
  <TitlesOfParts>
    <vt:vector size="35" baseType="lpstr">
      <vt:lpstr>OBT Site strategies</vt:lpstr>
      <vt:lpstr>White_Volvo Group Trucks Technology</vt:lpstr>
      <vt:lpstr>Globe</vt:lpstr>
      <vt:lpstr>Bridge</vt:lpstr>
      <vt:lpstr>Volvo Trucks</vt:lpstr>
      <vt:lpstr>Front</vt:lpstr>
      <vt:lpstr>Renault Trucks</vt:lpstr>
      <vt:lpstr>Mack Trucks</vt:lpstr>
      <vt:lpstr>UD Trucks</vt:lpstr>
      <vt:lpstr>Eicher</vt:lpstr>
      <vt:lpstr>Black</vt:lpstr>
      <vt:lpstr>think-cell Slide</vt:lpstr>
      <vt:lpstr>Microsoft Office Visio Drawing</vt:lpstr>
      <vt:lpstr>Worksheet</vt:lpstr>
      <vt:lpstr>Visio</vt:lpstr>
      <vt:lpstr>On-board Telematics presentation </vt:lpstr>
      <vt:lpstr>Mission</vt:lpstr>
      <vt:lpstr>Volvo Group Organization</vt:lpstr>
      <vt:lpstr>PowerPoint Presentation</vt:lpstr>
      <vt:lpstr> OBT Organization Structure </vt:lpstr>
      <vt:lpstr>On-board Telematics organization - Truck Brands </vt:lpstr>
      <vt:lpstr>The staff - OBT Telematic SW Development and Verification</vt:lpstr>
      <vt:lpstr>E2E Telematic system overview</vt:lpstr>
      <vt:lpstr>Solution landscape ”to be”*</vt:lpstr>
      <vt:lpstr>PowerPoint Presentation</vt:lpstr>
      <vt:lpstr>PowerPoint Presentation</vt:lpstr>
      <vt:lpstr>PowerPoint Presentation</vt:lpstr>
      <vt:lpstr>Project Team</vt:lpstr>
      <vt:lpstr>SW Factory – Team Set Up</vt:lpstr>
      <vt:lpstr>V-cycle </vt:lpstr>
      <vt:lpstr>Start of sprints</vt:lpstr>
      <vt:lpstr>Volvo Group Telematic Products</vt:lpstr>
      <vt:lpstr>Development tools</vt:lpstr>
      <vt:lpstr>Onboard SW Architecture – GTAG4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2-04-16T14:29:56Z</dcterms:created>
  <dcterms:modified xsi:type="dcterms:W3CDTF">2016-08-18T14:06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3457BA867559B4DAB8353E2FC5D1A9C</vt:lpwstr>
  </property>
  <property fmtid="{D5CDD505-2E9C-101B-9397-08002B2CF9AE}" pid="3" name="new_cwpid">
    <vt:lpwstr>60d62c58-ac60-4437-9771-360d61450f0f</vt:lpwstr>
  </property>
</Properties>
</file>